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38"/>
  </p:notesMasterIdLst>
  <p:sldIdLst>
    <p:sldId id="256" r:id="rId5"/>
    <p:sldId id="1460" r:id="rId6"/>
    <p:sldId id="1461" r:id="rId7"/>
    <p:sldId id="1587" r:id="rId8"/>
    <p:sldId id="1586" r:id="rId9"/>
    <p:sldId id="1496" r:id="rId10"/>
    <p:sldId id="1588" r:id="rId11"/>
    <p:sldId id="1590" r:id="rId12"/>
    <p:sldId id="1591" r:id="rId13"/>
    <p:sldId id="1592" r:id="rId14"/>
    <p:sldId id="1593" r:id="rId15"/>
    <p:sldId id="1594" r:id="rId16"/>
    <p:sldId id="1537" r:id="rId17"/>
    <p:sldId id="1480" r:id="rId18"/>
    <p:sldId id="1499" r:id="rId19"/>
    <p:sldId id="1551" r:id="rId20"/>
    <p:sldId id="1567" r:id="rId21"/>
    <p:sldId id="1568" r:id="rId22"/>
    <p:sldId id="288" r:id="rId23"/>
    <p:sldId id="1570" r:id="rId24"/>
    <p:sldId id="1571" r:id="rId25"/>
    <p:sldId id="1572" r:id="rId26"/>
    <p:sldId id="1573" r:id="rId27"/>
    <p:sldId id="1574" r:id="rId28"/>
    <p:sldId id="1575" r:id="rId29"/>
    <p:sldId id="1576" r:id="rId30"/>
    <p:sldId id="1577" r:id="rId31"/>
    <p:sldId id="1583" r:id="rId32"/>
    <p:sldId id="1578" r:id="rId33"/>
    <p:sldId id="1579" r:id="rId34"/>
    <p:sldId id="1580" r:id="rId35"/>
    <p:sldId id="1589" r:id="rId36"/>
    <p:sldId id="1425" r:id="rId37"/>
  </p:sldIdLst>
  <p:sldSz cx="9144000" cy="5143500" type="screen16x9"/>
  <p:notesSz cx="6858000" cy="9144000"/>
  <p:custDataLst>
    <p:tags r:id="rId39"/>
  </p:custDataLst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43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5FB0D84-12EB-DA4F-E84C-2573E9CCE67E}" name="Mizutani, Iori" initials="MI" userId="S::iori.mizutani@unisg.ch::61732c85-4620-4df0-bf02-1d16ba9cd624" providerId="AD"/>
  <p188:author id="{D781EADA-B33A-31CA-FE0C-129C4F82D78C}" name="Maillard, Alexiane" initials="MA" userId="Maillard, Alexiane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02F"/>
    <a:srgbClr val="6CF0A2"/>
    <a:srgbClr val="084722"/>
    <a:srgbClr val="006023"/>
    <a:srgbClr val="D4D4D4"/>
    <a:srgbClr val="00802E"/>
    <a:srgbClr val="0A5F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4751AF2-3ED9-4291-87CE-8C44F3E03DED}" v="2" dt="2023-11-24T07:30:59.709"/>
    <p1510:client id="{3E63FEDC-E9BD-4468-8EE0-3499DA948F86}" v="8" dt="2023-11-24T06:54:03"/>
    <p1510:client id="{49461689-A9CF-4EB7-8832-5D1F6C6ACEA8}" v="5" dt="2023-11-23T17:23:55.012"/>
    <p1510:client id="{C75ED841-D425-406F-ABED-DB25FFAE10E8}" v="1478" dt="2023-11-23T08:35:53.663"/>
    <p1510:client id="{CB9BBCED-EFDA-8144-9796-D4B229458931}" vWet="2" dt="2023-11-24T06:53:50.56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24" d="100"/>
          <a:sy n="124" d="100"/>
        </p:scale>
        <p:origin x="105" y="54"/>
      </p:cViewPr>
      <p:guideLst>
        <p:guide orient="horz" pos="1643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notesMaster" Target="notesMasters/notesMaster1.xml"/><Relationship Id="rId46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presProps" Target="presProps.xml"/><Relationship Id="rId45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ominik Buchegger" userId="7f2052fac20aabcc" providerId="LiveId" clId="{34751AF2-3ED9-4291-87CE-8C44F3E03DED}"/>
    <pc:docChg chg="custSel addSld delSld modSld">
      <pc:chgData name="Dominik Buchegger" userId="7f2052fac20aabcc" providerId="LiveId" clId="{34751AF2-3ED9-4291-87CE-8C44F3E03DED}" dt="2023-11-24T07:31:02.473" v="147" actId="20577"/>
      <pc:docMkLst>
        <pc:docMk/>
      </pc:docMkLst>
      <pc:sldChg chg="modSp add mod">
        <pc:chgData name="Dominik Buchegger" userId="7f2052fac20aabcc" providerId="LiveId" clId="{34751AF2-3ED9-4291-87CE-8C44F3E03DED}" dt="2023-11-24T07:30:46.004" v="144" actId="20577"/>
        <pc:sldMkLst>
          <pc:docMk/>
          <pc:sldMk cId="2447692118" sldId="1480"/>
        </pc:sldMkLst>
        <pc:spChg chg="mod">
          <ac:chgData name="Dominik Buchegger" userId="7f2052fac20aabcc" providerId="LiveId" clId="{34751AF2-3ED9-4291-87CE-8C44F3E03DED}" dt="2023-11-24T07:30:46.004" v="144" actId="20577"/>
          <ac:spMkLst>
            <pc:docMk/>
            <pc:sldMk cId="2447692118" sldId="1480"/>
            <ac:spMk id="2" creationId="{76EA407A-0B5B-9B6F-C9D4-877962AE18C5}"/>
          </ac:spMkLst>
        </pc:spChg>
      </pc:sldChg>
      <pc:sldChg chg="modSp add mod">
        <pc:chgData name="Dominik Buchegger" userId="7f2052fac20aabcc" providerId="LiveId" clId="{34751AF2-3ED9-4291-87CE-8C44F3E03DED}" dt="2023-11-24T07:31:02.473" v="147" actId="20577"/>
        <pc:sldMkLst>
          <pc:docMk/>
          <pc:sldMk cId="2299432622" sldId="1499"/>
        </pc:sldMkLst>
        <pc:spChg chg="mod">
          <ac:chgData name="Dominik Buchegger" userId="7f2052fac20aabcc" providerId="LiveId" clId="{34751AF2-3ED9-4291-87CE-8C44F3E03DED}" dt="2023-11-24T07:31:02.473" v="147" actId="20577"/>
          <ac:spMkLst>
            <pc:docMk/>
            <pc:sldMk cId="2299432622" sldId="1499"/>
            <ac:spMk id="2" creationId="{76EA407A-0B5B-9B6F-C9D4-877962AE18C5}"/>
          </ac:spMkLst>
        </pc:spChg>
      </pc:sldChg>
      <pc:sldChg chg="modSp new del mod">
        <pc:chgData name="Dominik Buchegger" userId="7f2052fac20aabcc" providerId="LiveId" clId="{34751AF2-3ED9-4291-87CE-8C44F3E03DED}" dt="2023-11-24T07:30:37.840" v="121" actId="47"/>
        <pc:sldMkLst>
          <pc:docMk/>
          <pc:sldMk cId="2331215346" sldId="1595"/>
        </pc:sldMkLst>
        <pc:spChg chg="mod">
          <ac:chgData name="Dominik Buchegger" userId="7f2052fac20aabcc" providerId="LiveId" clId="{34751AF2-3ED9-4291-87CE-8C44F3E03DED}" dt="2023-11-24T07:28:11.161" v="71" actId="20577"/>
          <ac:spMkLst>
            <pc:docMk/>
            <pc:sldMk cId="2331215346" sldId="1595"/>
            <ac:spMk id="2" creationId="{DCC9B9EF-FBA6-E32E-EFCC-E2D9BA8BA501}"/>
          </ac:spMkLst>
        </pc:spChg>
        <pc:spChg chg="mod">
          <ac:chgData name="Dominik Buchegger" userId="7f2052fac20aabcc" providerId="LiveId" clId="{34751AF2-3ED9-4291-87CE-8C44F3E03DED}" dt="2023-11-24T07:30:25.379" v="96" actId="20577"/>
          <ac:spMkLst>
            <pc:docMk/>
            <pc:sldMk cId="2331215346" sldId="1595"/>
            <ac:spMk id="3" creationId="{4893D8D3-C996-A383-05FD-41EB5AC51025}"/>
          </ac:spMkLst>
        </pc:spChg>
      </pc:sldChg>
    </pc:docChg>
  </pc:docChgLst>
  <pc:docChgLst>
    <pc:chgData name="Mizutani, Iori" userId="S::iori.mizutani@unisg.ch::61732c85-4620-4df0-bf02-1d16ba9cd624" providerId="AD" clId="Web-{C75ED841-D425-406F-ABED-DB25FFAE10E8}"/>
    <pc:docChg chg="addSld modSld sldOrd">
      <pc:chgData name="Mizutani, Iori" userId="S::iori.mizutani@unisg.ch::61732c85-4620-4df0-bf02-1d16ba9cd624" providerId="AD" clId="Web-{C75ED841-D425-406F-ABED-DB25FFAE10E8}" dt="2023-11-23T08:35:51.679" v="1300" actId="20577"/>
      <pc:docMkLst>
        <pc:docMk/>
      </pc:docMkLst>
      <pc:sldChg chg="addSp delSp modSp">
        <pc:chgData name="Mizutani, Iori" userId="S::iori.mizutani@unisg.ch::61732c85-4620-4df0-bf02-1d16ba9cd624" providerId="AD" clId="Web-{C75ED841-D425-406F-ABED-DB25FFAE10E8}" dt="2023-11-23T08:00:28.834" v="796"/>
        <pc:sldMkLst>
          <pc:docMk/>
          <pc:sldMk cId="1386235312" sldId="1588"/>
        </pc:sldMkLst>
        <pc:spChg chg="mod">
          <ac:chgData name="Mizutani, Iori" userId="S::iori.mizutani@unisg.ch::61732c85-4620-4df0-bf02-1d16ba9cd624" providerId="AD" clId="Web-{C75ED841-D425-406F-ABED-DB25FFAE10E8}" dt="2023-11-23T07:10:33.208" v="6" actId="20577"/>
          <ac:spMkLst>
            <pc:docMk/>
            <pc:sldMk cId="1386235312" sldId="1588"/>
            <ac:spMk id="2" creationId="{E1C058E9-CDB2-5401-7BE7-9AA096D8E333}"/>
          </ac:spMkLst>
        </pc:spChg>
        <pc:spChg chg="mod">
          <ac:chgData name="Mizutani, Iori" userId="S::iori.mizutani@unisg.ch::61732c85-4620-4df0-bf02-1d16ba9cd624" providerId="AD" clId="Web-{C75ED841-D425-406F-ABED-DB25FFAE10E8}" dt="2023-11-23T07:17:37.904" v="179" actId="14100"/>
          <ac:spMkLst>
            <pc:docMk/>
            <pc:sldMk cId="1386235312" sldId="1588"/>
            <ac:spMk id="3" creationId="{980C6F38-2113-9A7A-F8CA-DEA212660AC6}"/>
          </ac:spMkLst>
        </pc:spChg>
        <pc:spChg chg="add mod">
          <ac:chgData name="Mizutani, Iori" userId="S::iori.mizutani@unisg.ch::61732c85-4620-4df0-bf02-1d16ba9cd624" providerId="AD" clId="Web-{C75ED841-D425-406F-ABED-DB25FFAE10E8}" dt="2023-11-23T07:52:20.139" v="737" actId="14100"/>
          <ac:spMkLst>
            <pc:docMk/>
            <pc:sldMk cId="1386235312" sldId="1588"/>
            <ac:spMk id="7" creationId="{4C95AFA6-F76E-505E-FEB7-67F2CAE04696}"/>
          </ac:spMkLst>
        </pc:spChg>
        <pc:spChg chg="add del mod">
          <ac:chgData name="Mizutani, Iori" userId="S::iori.mizutani@unisg.ch::61732c85-4620-4df0-bf02-1d16ba9cd624" providerId="AD" clId="Web-{C75ED841-D425-406F-ABED-DB25FFAE10E8}" dt="2023-11-23T07:15:42.480" v="146"/>
          <ac:spMkLst>
            <pc:docMk/>
            <pc:sldMk cId="1386235312" sldId="1588"/>
            <ac:spMk id="8" creationId="{2C7E06D0-D799-6108-FBA2-DDD59FE47465}"/>
          </ac:spMkLst>
        </pc:spChg>
        <pc:spChg chg="add mod">
          <ac:chgData name="Mizutani, Iori" userId="S::iori.mizutani@unisg.ch::61732c85-4620-4df0-bf02-1d16ba9cd624" providerId="AD" clId="Web-{C75ED841-D425-406F-ABED-DB25FFAE10E8}" dt="2023-11-23T08:00:28.834" v="796"/>
          <ac:spMkLst>
            <pc:docMk/>
            <pc:sldMk cId="1386235312" sldId="1588"/>
            <ac:spMk id="9" creationId="{BEDDEF24-1801-3DA3-B356-12511992CD02}"/>
          </ac:spMkLst>
        </pc:spChg>
        <pc:picChg chg="add mod">
          <ac:chgData name="Mizutani, Iori" userId="S::iori.mizutani@unisg.ch::61732c85-4620-4df0-bf02-1d16ba9cd624" providerId="AD" clId="Web-{C75ED841-D425-406F-ABED-DB25FFAE10E8}" dt="2023-11-23T07:13:38.493" v="107" actId="1076"/>
          <ac:picMkLst>
            <pc:docMk/>
            <pc:sldMk cId="1386235312" sldId="1588"/>
            <ac:picMk id="5" creationId="{130CF648-D41C-426E-38CC-593780AE1E47}"/>
          </ac:picMkLst>
        </pc:picChg>
      </pc:sldChg>
      <pc:sldChg chg="delSp modSp add replId">
        <pc:chgData name="Mizutani, Iori" userId="S::iori.mizutani@unisg.ch::61732c85-4620-4df0-bf02-1d16ba9cd624" providerId="AD" clId="Web-{C75ED841-D425-406F-ABED-DB25FFAE10E8}" dt="2023-11-23T08:34:15.224" v="1277" actId="1076"/>
        <pc:sldMkLst>
          <pc:docMk/>
          <pc:sldMk cId="2588209185" sldId="1590"/>
        </pc:sldMkLst>
        <pc:spChg chg="mod">
          <ac:chgData name="Mizutani, Iori" userId="S::iori.mizutani@unisg.ch::61732c85-4620-4df0-bf02-1d16ba9cd624" providerId="AD" clId="Web-{C75ED841-D425-406F-ABED-DB25FFAE10E8}" dt="2023-11-23T07:21:40.174" v="255" actId="20577"/>
          <ac:spMkLst>
            <pc:docMk/>
            <pc:sldMk cId="2588209185" sldId="1590"/>
            <ac:spMk id="2" creationId="{E1C058E9-CDB2-5401-7BE7-9AA096D8E333}"/>
          </ac:spMkLst>
        </pc:spChg>
        <pc:spChg chg="mod">
          <ac:chgData name="Mizutani, Iori" userId="S::iori.mizutani@unisg.ch::61732c85-4620-4df0-bf02-1d16ba9cd624" providerId="AD" clId="Web-{C75ED841-D425-406F-ABED-DB25FFAE10E8}" dt="2023-11-23T08:34:15.224" v="1277" actId="1076"/>
          <ac:spMkLst>
            <pc:docMk/>
            <pc:sldMk cId="2588209185" sldId="1590"/>
            <ac:spMk id="3" creationId="{980C6F38-2113-9A7A-F8CA-DEA212660AC6}"/>
          </ac:spMkLst>
        </pc:spChg>
        <pc:spChg chg="del">
          <ac:chgData name="Mizutani, Iori" userId="S::iori.mizutani@unisg.ch::61732c85-4620-4df0-bf02-1d16ba9cd624" providerId="AD" clId="Web-{C75ED841-D425-406F-ABED-DB25FFAE10E8}" dt="2023-11-23T07:22:32.972" v="266"/>
          <ac:spMkLst>
            <pc:docMk/>
            <pc:sldMk cId="2588209185" sldId="1590"/>
            <ac:spMk id="7" creationId="{4C95AFA6-F76E-505E-FEB7-67F2CAE04696}"/>
          </ac:spMkLst>
        </pc:spChg>
        <pc:spChg chg="del">
          <ac:chgData name="Mizutani, Iori" userId="S::iori.mizutani@unisg.ch::61732c85-4620-4df0-bf02-1d16ba9cd624" providerId="AD" clId="Web-{C75ED841-D425-406F-ABED-DB25FFAE10E8}" dt="2023-11-23T07:22:35.629" v="267"/>
          <ac:spMkLst>
            <pc:docMk/>
            <pc:sldMk cId="2588209185" sldId="1590"/>
            <ac:spMk id="9" creationId="{BEDDEF24-1801-3DA3-B356-12511992CD02}"/>
          </ac:spMkLst>
        </pc:spChg>
        <pc:picChg chg="del">
          <ac:chgData name="Mizutani, Iori" userId="S::iori.mizutani@unisg.ch::61732c85-4620-4df0-bf02-1d16ba9cd624" providerId="AD" clId="Web-{C75ED841-D425-406F-ABED-DB25FFAE10E8}" dt="2023-11-23T07:21:41.987" v="256"/>
          <ac:picMkLst>
            <pc:docMk/>
            <pc:sldMk cId="2588209185" sldId="1590"/>
            <ac:picMk id="5" creationId="{130CF648-D41C-426E-38CC-593780AE1E47}"/>
          </ac:picMkLst>
        </pc:picChg>
      </pc:sldChg>
      <pc:sldChg chg="addSp delSp modSp add replId">
        <pc:chgData name="Mizutani, Iori" userId="S::iori.mizutani@unisg.ch::61732c85-4620-4df0-bf02-1d16ba9cd624" providerId="AD" clId="Web-{C75ED841-D425-406F-ABED-DB25FFAE10E8}" dt="2023-11-23T07:53:22.984" v="753" actId="1076"/>
        <pc:sldMkLst>
          <pc:docMk/>
          <pc:sldMk cId="1685448623" sldId="1591"/>
        </pc:sldMkLst>
        <pc:spChg chg="mod">
          <ac:chgData name="Mizutani, Iori" userId="S::iori.mizutani@unisg.ch::61732c85-4620-4df0-bf02-1d16ba9cd624" providerId="AD" clId="Web-{C75ED841-D425-406F-ABED-DB25FFAE10E8}" dt="2023-11-23T07:30:08.403" v="417" actId="20577"/>
          <ac:spMkLst>
            <pc:docMk/>
            <pc:sldMk cId="1685448623" sldId="1591"/>
            <ac:spMk id="2" creationId="{E1C058E9-CDB2-5401-7BE7-9AA096D8E333}"/>
          </ac:spMkLst>
        </pc:spChg>
        <pc:spChg chg="mod">
          <ac:chgData name="Mizutani, Iori" userId="S::iori.mizutani@unisg.ch::61732c85-4620-4df0-bf02-1d16ba9cd624" providerId="AD" clId="Web-{C75ED841-D425-406F-ABED-DB25FFAE10E8}" dt="2023-11-23T07:39:13.493" v="462" actId="1076"/>
          <ac:spMkLst>
            <pc:docMk/>
            <pc:sldMk cId="1685448623" sldId="1591"/>
            <ac:spMk id="3" creationId="{980C6F38-2113-9A7A-F8CA-DEA212660AC6}"/>
          </ac:spMkLst>
        </pc:spChg>
        <pc:spChg chg="add mod">
          <ac:chgData name="Mizutani, Iori" userId="S::iori.mizutani@unisg.ch::61732c85-4620-4df0-bf02-1d16ba9cd624" providerId="AD" clId="Web-{C75ED841-D425-406F-ABED-DB25FFAE10E8}" dt="2023-11-23T07:52:45.874" v="740" actId="1076"/>
          <ac:spMkLst>
            <pc:docMk/>
            <pc:sldMk cId="1685448623" sldId="1591"/>
            <ac:spMk id="12" creationId="{3F39874A-59F2-44CD-BB6B-CA74CAC00720}"/>
          </ac:spMkLst>
        </pc:spChg>
        <pc:spChg chg="add mod">
          <ac:chgData name="Mizutani, Iori" userId="S::iori.mizutani@unisg.ch::61732c85-4620-4df0-bf02-1d16ba9cd624" providerId="AD" clId="Web-{C75ED841-D425-406F-ABED-DB25FFAE10E8}" dt="2023-11-23T07:53:07.827" v="748" actId="20577"/>
          <ac:spMkLst>
            <pc:docMk/>
            <pc:sldMk cId="1685448623" sldId="1591"/>
            <ac:spMk id="13" creationId="{C5D222FF-9F7F-DD97-D2E7-A3FBD2EDC136}"/>
          </ac:spMkLst>
        </pc:spChg>
        <pc:grpChg chg="add del mod">
          <ac:chgData name="Mizutani, Iori" userId="S::iori.mizutani@unisg.ch::61732c85-4620-4df0-bf02-1d16ba9cd624" providerId="AD" clId="Web-{C75ED841-D425-406F-ABED-DB25FFAE10E8}" dt="2023-11-23T07:36:51.115" v="444"/>
          <ac:grpSpMkLst>
            <pc:docMk/>
            <pc:sldMk cId="1685448623" sldId="1591"/>
            <ac:grpSpMk id="7" creationId="{52036089-05E5-70B8-5311-AEFA3A5E30F9}"/>
          </ac:grpSpMkLst>
        </pc:grpChg>
        <pc:picChg chg="add del mod topLvl">
          <ac:chgData name="Mizutani, Iori" userId="S::iori.mizutani@unisg.ch::61732c85-4620-4df0-bf02-1d16ba9cd624" providerId="AD" clId="Web-{C75ED841-D425-406F-ABED-DB25FFAE10E8}" dt="2023-11-23T07:36:51.115" v="444"/>
          <ac:picMkLst>
            <pc:docMk/>
            <pc:sldMk cId="1685448623" sldId="1591"/>
            <ac:picMk id="5" creationId="{48C46E48-1E66-9FD4-4958-49B489B3651D}"/>
          </ac:picMkLst>
        </pc:picChg>
        <pc:picChg chg="add mod">
          <ac:chgData name="Mizutani, Iori" userId="S::iori.mizutani@unisg.ch::61732c85-4620-4df0-bf02-1d16ba9cd624" providerId="AD" clId="Web-{C75ED841-D425-406F-ABED-DB25FFAE10E8}" dt="2023-11-23T07:53:22.984" v="753" actId="1076"/>
          <ac:picMkLst>
            <pc:docMk/>
            <pc:sldMk cId="1685448623" sldId="1591"/>
            <ac:picMk id="5" creationId="{5A1BA013-C628-DE5F-1A3F-3282CA554E0A}"/>
          </ac:picMkLst>
        </pc:picChg>
        <pc:picChg chg="add del mod topLvl">
          <ac:chgData name="Mizutani, Iori" userId="S::iori.mizutani@unisg.ch::61732c85-4620-4df0-bf02-1d16ba9cd624" providerId="AD" clId="Web-{C75ED841-D425-406F-ABED-DB25FFAE10E8}" dt="2023-11-23T07:36:53.740" v="445"/>
          <ac:picMkLst>
            <pc:docMk/>
            <pc:sldMk cId="1685448623" sldId="1591"/>
            <ac:picMk id="6" creationId="{D24E0231-8F6B-BF22-1E61-57775AF69240}"/>
          </ac:picMkLst>
        </pc:picChg>
        <pc:picChg chg="add del mod">
          <ac:chgData name="Mizutani, Iori" userId="S::iori.mizutani@unisg.ch::61732c85-4620-4df0-bf02-1d16ba9cd624" providerId="AD" clId="Web-{C75ED841-D425-406F-ABED-DB25FFAE10E8}" dt="2023-11-23T07:37:52.850" v="448"/>
          <ac:picMkLst>
            <pc:docMk/>
            <pc:sldMk cId="1685448623" sldId="1591"/>
            <ac:picMk id="8" creationId="{91927E31-947E-B40D-6ACC-23E3A1FDA16D}"/>
          </ac:picMkLst>
        </pc:picChg>
        <pc:picChg chg="add mod">
          <ac:chgData name="Mizutani, Iori" userId="S::iori.mizutani@unisg.ch::61732c85-4620-4df0-bf02-1d16ba9cd624" providerId="AD" clId="Web-{C75ED841-D425-406F-ABED-DB25FFAE10E8}" dt="2023-11-23T07:52:41.124" v="739" actId="1076"/>
          <ac:picMkLst>
            <pc:docMk/>
            <pc:sldMk cId="1685448623" sldId="1591"/>
            <ac:picMk id="9" creationId="{BD113108-FD5A-2CE7-F650-87EF4D4DBF64}"/>
          </ac:picMkLst>
        </pc:picChg>
        <pc:picChg chg="add mod">
          <ac:chgData name="Mizutani, Iori" userId="S::iori.mizutani@unisg.ch::61732c85-4620-4df0-bf02-1d16ba9cd624" providerId="AD" clId="Web-{C75ED841-D425-406F-ABED-DB25FFAE10E8}" dt="2023-11-23T07:52:48.765" v="741" actId="1076"/>
          <ac:picMkLst>
            <pc:docMk/>
            <pc:sldMk cId="1685448623" sldId="1591"/>
            <ac:picMk id="10" creationId="{8EC632B0-0EFC-AD8F-2F67-451C8FA59480}"/>
          </ac:picMkLst>
        </pc:picChg>
      </pc:sldChg>
      <pc:sldChg chg="addSp delSp modSp add replId">
        <pc:chgData name="Mizutani, Iori" userId="S::iori.mizutani@unisg.ch::61732c85-4620-4df0-bf02-1d16ba9cd624" providerId="AD" clId="Web-{C75ED841-D425-406F-ABED-DB25FFAE10E8}" dt="2023-11-23T08:34:25.834" v="1278" actId="1076"/>
        <pc:sldMkLst>
          <pc:docMk/>
          <pc:sldMk cId="4111178336" sldId="1592"/>
        </pc:sldMkLst>
        <pc:spChg chg="mod">
          <ac:chgData name="Mizutani, Iori" userId="S::iori.mizutani@unisg.ch::61732c85-4620-4df0-bf02-1d16ba9cd624" providerId="AD" clId="Web-{C75ED841-D425-406F-ABED-DB25FFAE10E8}" dt="2023-11-23T07:53:43.875" v="755" actId="20577"/>
          <ac:spMkLst>
            <pc:docMk/>
            <pc:sldMk cId="4111178336" sldId="1592"/>
            <ac:spMk id="2" creationId="{E1C058E9-CDB2-5401-7BE7-9AA096D8E333}"/>
          </ac:spMkLst>
        </pc:spChg>
        <pc:spChg chg="mod">
          <ac:chgData name="Mizutani, Iori" userId="S::iori.mizutani@unisg.ch::61732c85-4620-4df0-bf02-1d16ba9cd624" providerId="AD" clId="Web-{C75ED841-D425-406F-ABED-DB25FFAE10E8}" dt="2023-11-23T08:02:15.007" v="814" actId="1076"/>
          <ac:spMkLst>
            <pc:docMk/>
            <pc:sldMk cId="4111178336" sldId="1592"/>
            <ac:spMk id="3" creationId="{980C6F38-2113-9A7A-F8CA-DEA212660AC6}"/>
          </ac:spMkLst>
        </pc:spChg>
        <pc:spChg chg="add mod">
          <ac:chgData name="Mizutani, Iori" userId="S::iori.mizutani@unisg.ch::61732c85-4620-4df0-bf02-1d16ba9cd624" providerId="AD" clId="Web-{C75ED841-D425-406F-ABED-DB25FFAE10E8}" dt="2023-11-23T08:10:46.828" v="956" actId="20577"/>
          <ac:spMkLst>
            <pc:docMk/>
            <pc:sldMk cId="4111178336" sldId="1592"/>
            <ac:spMk id="6" creationId="{631A138D-0E67-04F4-1C43-9F4C1337DBB2}"/>
          </ac:spMkLst>
        </pc:spChg>
        <pc:spChg chg="add mod">
          <ac:chgData name="Mizutani, Iori" userId="S::iori.mizutani@unisg.ch::61732c85-4620-4df0-bf02-1d16ba9cd624" providerId="AD" clId="Web-{C75ED841-D425-406F-ABED-DB25FFAE10E8}" dt="2023-11-23T08:34:25.834" v="1278" actId="1076"/>
          <ac:spMkLst>
            <pc:docMk/>
            <pc:sldMk cId="4111178336" sldId="1592"/>
            <ac:spMk id="7" creationId="{5C766FF7-B2CD-7549-7C54-7EE80AAA443C}"/>
          </ac:spMkLst>
        </pc:spChg>
        <pc:spChg chg="add mod">
          <ac:chgData name="Mizutani, Iori" userId="S::iori.mizutani@unisg.ch::61732c85-4620-4df0-bf02-1d16ba9cd624" providerId="AD" clId="Web-{C75ED841-D425-406F-ABED-DB25FFAE10E8}" dt="2023-11-23T08:03:47.056" v="864" actId="1076"/>
          <ac:spMkLst>
            <pc:docMk/>
            <pc:sldMk cId="4111178336" sldId="1592"/>
            <ac:spMk id="11" creationId="{D2A441A1-8030-67BB-2D7B-A60FC9EA16DC}"/>
          </ac:spMkLst>
        </pc:spChg>
        <pc:spChg chg="del mod">
          <ac:chgData name="Mizutani, Iori" userId="S::iori.mizutani@unisg.ch::61732c85-4620-4df0-bf02-1d16ba9cd624" providerId="AD" clId="Web-{C75ED841-D425-406F-ABED-DB25FFAE10E8}" dt="2023-11-23T07:53:58.812" v="759"/>
          <ac:spMkLst>
            <pc:docMk/>
            <pc:sldMk cId="4111178336" sldId="1592"/>
            <ac:spMk id="12" creationId="{3F39874A-59F2-44CD-BB6B-CA74CAC00720}"/>
          </ac:spMkLst>
        </pc:spChg>
        <pc:spChg chg="mod">
          <ac:chgData name="Mizutani, Iori" userId="S::iori.mizutani@unisg.ch::61732c85-4620-4df0-bf02-1d16ba9cd624" providerId="AD" clId="Web-{C75ED841-D425-406F-ABED-DB25FFAE10E8}" dt="2023-11-23T08:03:47.024" v="862" actId="1076"/>
          <ac:spMkLst>
            <pc:docMk/>
            <pc:sldMk cId="4111178336" sldId="1592"/>
            <ac:spMk id="13" creationId="{C5D222FF-9F7F-DD97-D2E7-A3FBD2EDC136}"/>
          </ac:spMkLst>
        </pc:spChg>
        <pc:picChg chg="del">
          <ac:chgData name="Mizutani, Iori" userId="S::iori.mizutani@unisg.ch::61732c85-4620-4df0-bf02-1d16ba9cd624" providerId="AD" clId="Web-{C75ED841-D425-406F-ABED-DB25FFAE10E8}" dt="2023-11-23T07:54:01.812" v="761"/>
          <ac:picMkLst>
            <pc:docMk/>
            <pc:sldMk cId="4111178336" sldId="1592"/>
            <ac:picMk id="5" creationId="{5A1BA013-C628-DE5F-1A3F-3282CA554E0A}"/>
          </ac:picMkLst>
        </pc:picChg>
        <pc:picChg chg="del">
          <ac:chgData name="Mizutani, Iori" userId="S::iori.mizutani@unisg.ch::61732c85-4620-4df0-bf02-1d16ba9cd624" providerId="AD" clId="Web-{C75ED841-D425-406F-ABED-DB25FFAE10E8}" dt="2023-11-23T07:53:49.578" v="756"/>
          <ac:picMkLst>
            <pc:docMk/>
            <pc:sldMk cId="4111178336" sldId="1592"/>
            <ac:picMk id="9" creationId="{BD113108-FD5A-2CE7-F650-87EF4D4DBF64}"/>
          </ac:picMkLst>
        </pc:picChg>
        <pc:picChg chg="del">
          <ac:chgData name="Mizutani, Iori" userId="S::iori.mizutani@unisg.ch::61732c85-4620-4df0-bf02-1d16ba9cd624" providerId="AD" clId="Web-{C75ED841-D425-406F-ABED-DB25FFAE10E8}" dt="2023-11-23T07:53:59.750" v="760"/>
          <ac:picMkLst>
            <pc:docMk/>
            <pc:sldMk cId="4111178336" sldId="1592"/>
            <ac:picMk id="10" creationId="{8EC632B0-0EFC-AD8F-2F67-451C8FA59480}"/>
          </ac:picMkLst>
        </pc:picChg>
      </pc:sldChg>
      <pc:sldChg chg="addSp delSp modSp add replId">
        <pc:chgData name="Mizutani, Iori" userId="S::iori.mizutani@unisg.ch::61732c85-4620-4df0-bf02-1d16ba9cd624" providerId="AD" clId="Web-{C75ED841-D425-406F-ABED-DB25FFAE10E8}" dt="2023-11-23T08:34:35.865" v="1279" actId="1076"/>
        <pc:sldMkLst>
          <pc:docMk/>
          <pc:sldMk cId="379841819" sldId="1593"/>
        </pc:sldMkLst>
        <pc:spChg chg="mod">
          <ac:chgData name="Mizutani, Iori" userId="S::iori.mizutani@unisg.ch::61732c85-4620-4df0-bf02-1d16ba9cd624" providerId="AD" clId="Web-{C75ED841-D425-406F-ABED-DB25FFAE10E8}" dt="2023-11-23T08:11:12.734" v="958" actId="20577"/>
          <ac:spMkLst>
            <pc:docMk/>
            <pc:sldMk cId="379841819" sldId="1593"/>
            <ac:spMk id="2" creationId="{E1C058E9-CDB2-5401-7BE7-9AA096D8E333}"/>
          </ac:spMkLst>
        </pc:spChg>
        <pc:spChg chg="mod">
          <ac:chgData name="Mizutani, Iori" userId="S::iori.mizutani@unisg.ch::61732c85-4620-4df0-bf02-1d16ba9cd624" providerId="AD" clId="Web-{C75ED841-D425-406F-ABED-DB25FFAE10E8}" dt="2023-11-23T08:13:57.581" v="995" actId="1076"/>
          <ac:spMkLst>
            <pc:docMk/>
            <pc:sldMk cId="379841819" sldId="1593"/>
            <ac:spMk id="3" creationId="{980C6F38-2113-9A7A-F8CA-DEA212660AC6}"/>
          </ac:spMkLst>
        </pc:spChg>
        <pc:spChg chg="del">
          <ac:chgData name="Mizutani, Iori" userId="S::iori.mizutani@unisg.ch::61732c85-4620-4df0-bf02-1d16ba9cd624" providerId="AD" clId="Web-{C75ED841-D425-406F-ABED-DB25FFAE10E8}" dt="2023-11-23T08:12:28.064" v="968"/>
          <ac:spMkLst>
            <pc:docMk/>
            <pc:sldMk cId="379841819" sldId="1593"/>
            <ac:spMk id="6" creationId="{631A138D-0E67-04F4-1C43-9F4C1337DBB2}"/>
          </ac:spMkLst>
        </pc:spChg>
        <pc:spChg chg="mod">
          <ac:chgData name="Mizutani, Iori" userId="S::iori.mizutani@unisg.ch::61732c85-4620-4df0-bf02-1d16ba9cd624" providerId="AD" clId="Web-{C75ED841-D425-406F-ABED-DB25FFAE10E8}" dt="2023-11-23T08:34:35.865" v="1279" actId="1076"/>
          <ac:spMkLst>
            <pc:docMk/>
            <pc:sldMk cId="379841819" sldId="1593"/>
            <ac:spMk id="7" creationId="{5C766FF7-B2CD-7549-7C54-7EE80AAA443C}"/>
          </ac:spMkLst>
        </pc:spChg>
        <pc:spChg chg="add mod">
          <ac:chgData name="Mizutani, Iori" userId="S::iori.mizutani@unisg.ch::61732c85-4620-4df0-bf02-1d16ba9cd624" providerId="AD" clId="Web-{C75ED841-D425-406F-ABED-DB25FFAE10E8}" dt="2023-11-23T08:19:04.741" v="1068" actId="20577"/>
          <ac:spMkLst>
            <pc:docMk/>
            <pc:sldMk cId="379841819" sldId="1593"/>
            <ac:spMk id="8" creationId="{6F4575FC-16E1-A751-674D-58F695D99E40}"/>
          </ac:spMkLst>
        </pc:spChg>
        <pc:spChg chg="del">
          <ac:chgData name="Mizutani, Iori" userId="S::iori.mizutani@unisg.ch::61732c85-4620-4df0-bf02-1d16ba9cd624" providerId="AD" clId="Web-{C75ED841-D425-406F-ABED-DB25FFAE10E8}" dt="2023-11-23T08:12:22.907" v="966"/>
          <ac:spMkLst>
            <pc:docMk/>
            <pc:sldMk cId="379841819" sldId="1593"/>
            <ac:spMk id="11" creationId="{D2A441A1-8030-67BB-2D7B-A60FC9EA16DC}"/>
          </ac:spMkLst>
        </pc:spChg>
        <pc:spChg chg="del">
          <ac:chgData name="Mizutani, Iori" userId="S::iori.mizutani@unisg.ch::61732c85-4620-4df0-bf02-1d16ba9cd624" providerId="AD" clId="Web-{C75ED841-D425-406F-ABED-DB25FFAE10E8}" dt="2023-11-23T08:12:25.470" v="967"/>
          <ac:spMkLst>
            <pc:docMk/>
            <pc:sldMk cId="379841819" sldId="1593"/>
            <ac:spMk id="13" creationId="{C5D222FF-9F7F-DD97-D2E7-A3FBD2EDC136}"/>
          </ac:spMkLst>
        </pc:spChg>
        <pc:picChg chg="add mod">
          <ac:chgData name="Mizutani, Iori" userId="S::iori.mizutani@unisg.ch::61732c85-4620-4df0-bf02-1d16ba9cd624" providerId="AD" clId="Web-{C75ED841-D425-406F-ABED-DB25FFAE10E8}" dt="2023-11-23T08:13:57.534" v="994" actId="1076"/>
          <ac:picMkLst>
            <pc:docMk/>
            <pc:sldMk cId="379841819" sldId="1593"/>
            <ac:picMk id="5" creationId="{CB204F88-4F7C-71D8-C1B4-138FFB90E8D7}"/>
          </ac:picMkLst>
        </pc:picChg>
      </pc:sldChg>
      <pc:sldChg chg="modSp add ord replId">
        <pc:chgData name="Mizutani, Iori" userId="S::iori.mizutani@unisg.ch::61732c85-4620-4df0-bf02-1d16ba9cd624" providerId="AD" clId="Web-{C75ED841-D425-406F-ABED-DB25FFAE10E8}" dt="2023-11-23T08:35:51.679" v="1300" actId="20577"/>
        <pc:sldMkLst>
          <pc:docMk/>
          <pc:sldMk cId="2139336433" sldId="1594"/>
        </pc:sldMkLst>
        <pc:spChg chg="mod">
          <ac:chgData name="Mizutani, Iori" userId="S::iori.mizutani@unisg.ch::61732c85-4620-4df0-bf02-1d16ba9cd624" providerId="AD" clId="Web-{C75ED841-D425-406F-ABED-DB25FFAE10E8}" dt="2023-11-23T08:35:28.553" v="1292" actId="1076"/>
          <ac:spMkLst>
            <pc:docMk/>
            <pc:sldMk cId="2139336433" sldId="1594"/>
            <ac:spMk id="2" creationId="{E1C058E9-CDB2-5401-7BE7-9AA096D8E333}"/>
          </ac:spMkLst>
        </pc:spChg>
        <pc:spChg chg="mod">
          <ac:chgData name="Mizutani, Iori" userId="S::iori.mizutani@unisg.ch::61732c85-4620-4df0-bf02-1d16ba9cd624" providerId="AD" clId="Web-{C75ED841-D425-406F-ABED-DB25FFAE10E8}" dt="2023-11-23T08:35:51.679" v="1300" actId="20577"/>
          <ac:spMkLst>
            <pc:docMk/>
            <pc:sldMk cId="2139336433" sldId="1594"/>
            <ac:spMk id="3" creationId="{980C6F38-2113-9A7A-F8CA-DEA212660AC6}"/>
          </ac:spMkLst>
        </pc:spChg>
      </pc:sldChg>
    </pc:docChg>
  </pc:docChgLst>
  <pc:docChgLst>
    <pc:chgData name="Bonilla, LeaMarta" userId="S::leamarta.bonilla@student.unisg.ch::aa5362c7-0476-4c50-b52f-35c2791cd063" providerId="AD" clId="Web-{0E2F1D67-5B81-4910-9A67-3CDC964054FB}"/>
    <pc:docChg chg="modSld">
      <pc:chgData name="Bonilla, LeaMarta" userId="S::leamarta.bonilla@student.unisg.ch::aa5362c7-0476-4c50-b52f-35c2791cd063" providerId="AD" clId="Web-{0E2F1D67-5B81-4910-9A67-3CDC964054FB}" dt="2023-11-21T17:50:10.108" v="48" actId="1076"/>
      <pc:docMkLst>
        <pc:docMk/>
      </pc:docMkLst>
      <pc:sldChg chg="modSp">
        <pc:chgData name="Bonilla, LeaMarta" userId="S::leamarta.bonilla@student.unisg.ch::aa5362c7-0476-4c50-b52f-35c2791cd063" providerId="AD" clId="Web-{0E2F1D67-5B81-4910-9A67-3CDC964054FB}" dt="2023-11-21T17:50:10.108" v="48" actId="1076"/>
        <pc:sldMkLst>
          <pc:docMk/>
          <pc:sldMk cId="2619354161" sldId="1589"/>
        </pc:sldMkLst>
        <pc:spChg chg="mod">
          <ac:chgData name="Bonilla, LeaMarta" userId="S::leamarta.bonilla@student.unisg.ch::aa5362c7-0476-4c50-b52f-35c2791cd063" providerId="AD" clId="Web-{0E2F1D67-5B81-4910-9A67-3CDC964054FB}" dt="2023-11-21T17:50:10.108" v="48" actId="1076"/>
          <ac:spMkLst>
            <pc:docMk/>
            <pc:sldMk cId="2619354161" sldId="1589"/>
            <ac:spMk id="2" creationId="{A92E3E48-FF8A-5E4C-67CC-8B0608A09C2C}"/>
          </ac:spMkLst>
        </pc:spChg>
      </pc:sldChg>
    </pc:docChg>
  </pc:docChgLst>
  <pc:docChgLst>
    <pc:chgData name="Bonilla, LeaMarta" userId="aa5362c7-0476-4c50-b52f-35c2791cd063" providerId="ADAL" clId="{F5B34AF7-BF00-F44F-8984-D9C5E8571A19}"/>
    <pc:docChg chg="undo custSel addSld delSld modSld modMainMaster replTag">
      <pc:chgData name="Bonilla, LeaMarta" userId="aa5362c7-0476-4c50-b52f-35c2791cd063" providerId="ADAL" clId="{F5B34AF7-BF00-F44F-8984-D9C5E8571A19}" dt="2023-11-21T17:42:16.162" v="500" actId="1036"/>
      <pc:docMkLst>
        <pc:docMk/>
      </pc:docMkLst>
      <pc:sldChg chg="modSp mod">
        <pc:chgData name="Bonilla, LeaMarta" userId="aa5362c7-0476-4c50-b52f-35c2791cd063" providerId="ADAL" clId="{F5B34AF7-BF00-F44F-8984-D9C5E8571A19}" dt="2023-11-21T17:42:01.530" v="488" actId="20577"/>
        <pc:sldMkLst>
          <pc:docMk/>
          <pc:sldMk cId="3772496692" sldId="256"/>
        </pc:sldMkLst>
        <pc:spChg chg="mod">
          <ac:chgData name="Bonilla, LeaMarta" userId="aa5362c7-0476-4c50-b52f-35c2791cd063" providerId="ADAL" clId="{F5B34AF7-BF00-F44F-8984-D9C5E8571A19}" dt="2023-11-21T17:42:01.530" v="488" actId="20577"/>
          <ac:spMkLst>
            <pc:docMk/>
            <pc:sldMk cId="3772496692" sldId="256"/>
            <ac:spMk id="13" creationId="{0C11E479-9B3A-42D2-A07C-80F9E924336D}"/>
          </ac:spMkLst>
        </pc:spChg>
      </pc:sldChg>
      <pc:sldChg chg="modSp mod">
        <pc:chgData name="Bonilla, LeaMarta" userId="aa5362c7-0476-4c50-b52f-35c2791cd063" providerId="ADAL" clId="{F5B34AF7-BF00-F44F-8984-D9C5E8571A19}" dt="2023-11-21T17:42:16.162" v="500" actId="1036"/>
        <pc:sldMkLst>
          <pc:docMk/>
          <pc:sldMk cId="2946332310" sldId="1460"/>
        </pc:sldMkLst>
        <pc:spChg chg="mod">
          <ac:chgData name="Bonilla, LeaMarta" userId="aa5362c7-0476-4c50-b52f-35c2791cd063" providerId="ADAL" clId="{F5B34AF7-BF00-F44F-8984-D9C5E8571A19}" dt="2023-11-21T17:42:16.162" v="500" actId="1036"/>
          <ac:spMkLst>
            <pc:docMk/>
            <pc:sldMk cId="2946332310" sldId="1460"/>
            <ac:spMk id="2" creationId="{38C104DD-55A5-D5D7-68B1-A81097757DA7}"/>
          </ac:spMkLst>
        </pc:spChg>
      </pc:sldChg>
      <pc:sldChg chg="addSp delSp modSp mod">
        <pc:chgData name="Bonilla, LeaMarta" userId="aa5362c7-0476-4c50-b52f-35c2791cd063" providerId="ADAL" clId="{F5B34AF7-BF00-F44F-8984-D9C5E8571A19}" dt="2023-11-21T17:39:39.431" v="123"/>
        <pc:sldMkLst>
          <pc:docMk/>
          <pc:sldMk cId="860905568" sldId="1461"/>
        </pc:sldMkLst>
        <pc:spChg chg="mod">
          <ac:chgData name="Bonilla, LeaMarta" userId="aa5362c7-0476-4c50-b52f-35c2791cd063" providerId="ADAL" clId="{F5B34AF7-BF00-F44F-8984-D9C5E8571A19}" dt="2023-11-21T17:39:39.417" v="98" actId="948"/>
          <ac:spMkLst>
            <pc:docMk/>
            <pc:sldMk cId="860905568" sldId="1461"/>
            <ac:spMk id="2" creationId="{C36256A2-67B2-CA01-7417-6A9C17C6B307}"/>
          </ac:spMkLst>
        </pc:spChg>
        <pc:spChg chg="add del mod modVis">
          <ac:chgData name="Bonilla, LeaMarta" userId="aa5362c7-0476-4c50-b52f-35c2791cd063" providerId="ADAL" clId="{F5B34AF7-BF00-F44F-8984-D9C5E8571A19}" dt="2023-11-21T17:39:38.832" v="66"/>
          <ac:spMkLst>
            <pc:docMk/>
            <pc:sldMk cId="860905568" sldId="1461"/>
            <ac:spMk id="3" creationId="{C27E2730-9F70-D1C4-9D33-366E28C8AE67}"/>
          </ac:spMkLst>
        </pc:spChg>
        <pc:spChg chg="add del mod modVis">
          <ac:chgData name="Bonilla, LeaMarta" userId="aa5362c7-0476-4c50-b52f-35c2791cd063" providerId="ADAL" clId="{F5B34AF7-BF00-F44F-8984-D9C5E8571A19}" dt="2023-11-21T17:39:39.429" v="121"/>
          <ac:spMkLst>
            <pc:docMk/>
            <pc:sldMk cId="860905568" sldId="1461"/>
            <ac:spMk id="5" creationId="{780DA197-F11B-5EDE-814D-B3406C43E0C1}"/>
          </ac:spMkLst>
        </pc:spChg>
        <pc:graphicFrameChg chg="add mod modVis replST">
          <ac:chgData name="Bonilla, LeaMarta" userId="aa5362c7-0476-4c50-b52f-35c2791cd063" providerId="ADAL" clId="{F5B34AF7-BF00-F44F-8984-D9C5E8571A19}" dt="2023-11-21T17:39:39.431" v="123"/>
          <ac:graphicFrameMkLst>
            <pc:docMk/>
            <pc:sldMk cId="860905568" sldId="1461"/>
            <ac:graphicFrameMk id="4" creationId="{9C5C61F6-6EE3-9788-EA5F-0CB9A3439784}"/>
          </ac:graphicFrameMkLst>
        </pc:graphicFrameChg>
      </pc:sldChg>
      <pc:sldChg chg="addSp delSp modSp mod">
        <pc:chgData name="Bonilla, LeaMarta" userId="aa5362c7-0476-4c50-b52f-35c2791cd063" providerId="ADAL" clId="{F5B34AF7-BF00-F44F-8984-D9C5E8571A19}" dt="2023-11-21T17:40:12.521" v="189"/>
        <pc:sldMkLst>
          <pc:docMk/>
          <pc:sldMk cId="455783933" sldId="1496"/>
        </pc:sldMkLst>
        <pc:spChg chg="mod">
          <ac:chgData name="Bonilla, LeaMarta" userId="aa5362c7-0476-4c50-b52f-35c2791cd063" providerId="ADAL" clId="{F5B34AF7-BF00-F44F-8984-D9C5E8571A19}" dt="2023-11-21T17:40:12.496" v="164" actId="948"/>
          <ac:spMkLst>
            <pc:docMk/>
            <pc:sldMk cId="455783933" sldId="1496"/>
            <ac:spMk id="2" creationId="{C36256A2-67B2-CA01-7417-6A9C17C6B307}"/>
          </ac:spMkLst>
        </pc:spChg>
        <pc:spChg chg="add del mod modVis">
          <ac:chgData name="Bonilla, LeaMarta" userId="aa5362c7-0476-4c50-b52f-35c2791cd063" providerId="ADAL" clId="{F5B34AF7-BF00-F44F-8984-D9C5E8571A19}" dt="2023-11-21T17:40:11.697" v="148"/>
          <ac:spMkLst>
            <pc:docMk/>
            <pc:sldMk cId="455783933" sldId="1496"/>
            <ac:spMk id="3" creationId="{38EEB308-FB85-C128-3BC3-A24B4A0E5406}"/>
          </ac:spMkLst>
        </pc:spChg>
        <pc:spChg chg="add del mod modVis">
          <ac:chgData name="Bonilla, LeaMarta" userId="aa5362c7-0476-4c50-b52f-35c2791cd063" providerId="ADAL" clId="{F5B34AF7-BF00-F44F-8984-D9C5E8571A19}" dt="2023-11-21T17:40:12.519" v="187"/>
          <ac:spMkLst>
            <pc:docMk/>
            <pc:sldMk cId="455783933" sldId="1496"/>
            <ac:spMk id="5" creationId="{08F8911C-4A5D-AF89-E098-B0AF4DF2468D}"/>
          </ac:spMkLst>
        </pc:spChg>
        <pc:graphicFrameChg chg="add mod modVis replST">
          <ac:chgData name="Bonilla, LeaMarta" userId="aa5362c7-0476-4c50-b52f-35c2791cd063" providerId="ADAL" clId="{F5B34AF7-BF00-F44F-8984-D9C5E8571A19}" dt="2023-11-21T17:40:12.521" v="189"/>
          <ac:graphicFrameMkLst>
            <pc:docMk/>
            <pc:sldMk cId="455783933" sldId="1496"/>
            <ac:graphicFrameMk id="4" creationId="{16B57037-CC83-6A5B-F471-B0A9B1402775}"/>
          </ac:graphicFrameMkLst>
        </pc:graphicFrameChg>
      </pc:sldChg>
      <pc:sldChg chg="addSp delSp modSp mod">
        <pc:chgData name="Bonilla, LeaMarta" userId="aa5362c7-0476-4c50-b52f-35c2791cd063" providerId="ADAL" clId="{F5B34AF7-BF00-F44F-8984-D9C5E8571A19}" dt="2023-11-21T17:41:10.714" v="487"/>
        <pc:sldMkLst>
          <pc:docMk/>
          <pc:sldMk cId="3241705055" sldId="1537"/>
        </pc:sldMkLst>
        <pc:spChg chg="mod">
          <ac:chgData name="Bonilla, LeaMarta" userId="aa5362c7-0476-4c50-b52f-35c2791cd063" providerId="ADAL" clId="{F5B34AF7-BF00-F44F-8984-D9C5E8571A19}" dt="2023-11-21T17:41:10.687" v="462" actId="948"/>
          <ac:spMkLst>
            <pc:docMk/>
            <pc:sldMk cId="3241705055" sldId="1537"/>
            <ac:spMk id="2" creationId="{A92E3E48-FF8A-5E4C-67CC-8B0608A09C2C}"/>
          </ac:spMkLst>
        </pc:spChg>
        <pc:spChg chg="add del mod modVis">
          <ac:chgData name="Bonilla, LeaMarta" userId="aa5362c7-0476-4c50-b52f-35c2791cd063" providerId="ADAL" clId="{F5B34AF7-BF00-F44F-8984-D9C5E8571A19}" dt="2023-11-21T17:40:45.163" v="272" actId="962"/>
          <ac:spMkLst>
            <pc:docMk/>
            <pc:sldMk cId="3241705055" sldId="1537"/>
            <ac:spMk id="3" creationId="{95482B7C-B832-E01F-3D99-DE70DE13B447}"/>
          </ac:spMkLst>
        </pc:spChg>
        <pc:spChg chg="add del mod modVis">
          <ac:chgData name="Bonilla, LeaMarta" userId="aa5362c7-0476-4c50-b52f-35c2791cd063" providerId="ADAL" clId="{F5B34AF7-BF00-F44F-8984-D9C5E8571A19}" dt="2023-11-21T17:40:56.300" v="308"/>
          <ac:spMkLst>
            <pc:docMk/>
            <pc:sldMk cId="3241705055" sldId="1537"/>
            <ac:spMk id="5" creationId="{AA2FFE92-91A6-073B-DCA5-9A196983D57E}"/>
          </ac:spMkLst>
        </pc:spChg>
        <pc:spChg chg="add del mod modVis">
          <ac:chgData name="Bonilla, LeaMarta" userId="aa5362c7-0476-4c50-b52f-35c2791cd063" providerId="ADAL" clId="{F5B34AF7-BF00-F44F-8984-D9C5E8571A19}" dt="2023-11-21T17:41:03.705" v="381"/>
          <ac:spMkLst>
            <pc:docMk/>
            <pc:sldMk cId="3241705055" sldId="1537"/>
            <ac:spMk id="7" creationId="{CB2F8154-B7DD-2284-0133-230F272D0403}"/>
          </ac:spMkLst>
        </pc:spChg>
        <pc:spChg chg="add del mod modVis">
          <ac:chgData name="Bonilla, LeaMarta" userId="aa5362c7-0476-4c50-b52f-35c2791cd063" providerId="ADAL" clId="{F5B34AF7-BF00-F44F-8984-D9C5E8571A19}" dt="2023-11-21T17:41:07.029" v="422"/>
          <ac:spMkLst>
            <pc:docMk/>
            <pc:sldMk cId="3241705055" sldId="1537"/>
            <ac:spMk id="8" creationId="{F84232D1-B7C5-3B0C-2A3E-399D52925C47}"/>
          </ac:spMkLst>
        </pc:spChg>
        <pc:spChg chg="add del mod modVis">
          <ac:chgData name="Bonilla, LeaMarta" userId="aa5362c7-0476-4c50-b52f-35c2791cd063" providerId="ADAL" clId="{F5B34AF7-BF00-F44F-8984-D9C5E8571A19}" dt="2023-11-21T17:41:09.470" v="458"/>
          <ac:spMkLst>
            <pc:docMk/>
            <pc:sldMk cId="3241705055" sldId="1537"/>
            <ac:spMk id="9" creationId="{785FF775-2E16-67C9-E106-784A99228E0B}"/>
          </ac:spMkLst>
        </pc:spChg>
        <pc:spChg chg="add del mod modVis">
          <ac:chgData name="Bonilla, LeaMarta" userId="aa5362c7-0476-4c50-b52f-35c2791cd063" providerId="ADAL" clId="{F5B34AF7-BF00-F44F-8984-D9C5E8571A19}" dt="2023-11-21T17:41:10.712" v="485"/>
          <ac:spMkLst>
            <pc:docMk/>
            <pc:sldMk cId="3241705055" sldId="1537"/>
            <ac:spMk id="10" creationId="{7113A440-CE76-8103-18AB-3CA4C43B9997}"/>
          </ac:spMkLst>
        </pc:spChg>
        <pc:graphicFrameChg chg="add mod modVis replST delST">
          <ac:chgData name="Bonilla, LeaMarta" userId="aa5362c7-0476-4c50-b52f-35c2791cd063" providerId="ADAL" clId="{F5B34AF7-BF00-F44F-8984-D9C5E8571A19}" dt="2023-11-21T17:40:44.792" v="244" actId="14100"/>
          <ac:graphicFrameMkLst>
            <pc:docMk/>
            <pc:sldMk cId="3241705055" sldId="1537"/>
            <ac:graphicFrameMk id="4" creationId="{DF3042CE-F346-F09E-5BB9-BB9BA571262C}"/>
          </ac:graphicFrameMkLst>
        </pc:graphicFrameChg>
        <pc:graphicFrameChg chg="add mod modVis replST">
          <ac:chgData name="Bonilla, LeaMarta" userId="aa5362c7-0476-4c50-b52f-35c2791cd063" providerId="ADAL" clId="{F5B34AF7-BF00-F44F-8984-D9C5E8571A19}" dt="2023-11-21T17:41:10.714" v="487"/>
          <ac:graphicFrameMkLst>
            <pc:docMk/>
            <pc:sldMk cId="3241705055" sldId="1537"/>
            <ac:graphicFrameMk id="6" creationId="{82FE6CED-A003-2F24-9759-570ACBCD6C69}"/>
          </ac:graphicFrameMkLst>
        </pc:graphicFrameChg>
      </pc:sldChg>
      <pc:sldChg chg="del">
        <pc:chgData name="Bonilla, LeaMarta" userId="aa5362c7-0476-4c50-b52f-35c2791cd063" providerId="ADAL" clId="{F5B34AF7-BF00-F44F-8984-D9C5E8571A19}" dt="2023-11-21T17:40:20.958" v="190" actId="2696"/>
        <pc:sldMkLst>
          <pc:docMk/>
          <pc:sldMk cId="723318487" sldId="1582"/>
        </pc:sldMkLst>
      </pc:sldChg>
      <pc:sldChg chg="new">
        <pc:chgData name="Bonilla, LeaMarta" userId="aa5362c7-0476-4c50-b52f-35c2791cd063" providerId="ADAL" clId="{F5B34AF7-BF00-F44F-8984-D9C5E8571A19}" dt="2023-11-21T17:40:26.248" v="191" actId="680"/>
        <pc:sldMkLst>
          <pc:docMk/>
          <pc:sldMk cId="1386235312" sldId="1588"/>
        </pc:sldMkLst>
      </pc:sldChg>
      <pc:sldMasterChg chg="addSp delSp modSp mod">
        <pc:chgData name="Bonilla, LeaMarta" userId="aa5362c7-0476-4c50-b52f-35c2791cd063" providerId="ADAL" clId="{F5B34AF7-BF00-F44F-8984-D9C5E8571A19}" dt="2023-11-21T17:39:38.899" v="96"/>
        <pc:sldMasterMkLst>
          <pc:docMk/>
          <pc:sldMasterMk cId="4246037650" sldId="2147483660"/>
        </pc:sldMasterMkLst>
        <pc:spChg chg="mod">
          <ac:chgData name="Bonilla, LeaMarta" userId="aa5362c7-0476-4c50-b52f-35c2791cd063" providerId="ADAL" clId="{F5B34AF7-BF00-F44F-8984-D9C5E8571A19}" dt="2023-11-21T17:39:38.815" v="43" actId="948"/>
          <ac:spMkLst>
            <pc:docMk/>
            <pc:sldMasterMk cId="4246037650" sldId="2147483660"/>
            <ac:spMk id="2" creationId="{22501321-794C-47B8-ABDC-7DAF88C9DC68}"/>
          </ac:spMkLst>
        </pc:spChg>
        <pc:spChg chg="add del mod modVis">
          <ac:chgData name="Bonilla, LeaMarta" userId="aa5362c7-0476-4c50-b52f-35c2791cd063" providerId="ADAL" clId="{F5B34AF7-BF00-F44F-8984-D9C5E8571A19}" dt="2023-11-21T17:39:38.880" v="82"/>
          <ac:spMkLst>
            <pc:docMk/>
            <pc:sldMasterMk cId="4246037650" sldId="2147483660"/>
            <ac:spMk id="4" creationId="{D0AFBAB4-238C-D7F0-4DD3-5366CE976506}"/>
          </ac:spMkLst>
        </pc:spChg>
        <pc:graphicFrameChg chg="add mod modVis replST">
          <ac:chgData name="Bonilla, LeaMarta" userId="aa5362c7-0476-4c50-b52f-35c2791cd063" providerId="ADAL" clId="{F5B34AF7-BF00-F44F-8984-D9C5E8571A19}" dt="2023-11-21T17:39:38.899" v="96"/>
          <ac:graphicFrameMkLst>
            <pc:docMk/>
            <pc:sldMasterMk cId="4246037650" sldId="2147483660"/>
            <ac:graphicFrameMk id="5" creationId="{A1C1EEF3-9469-F4B0-037D-E329561B1464}"/>
          </ac:graphicFrameMkLst>
        </pc:graphicFrameChg>
      </pc:sldMasterChg>
    </pc:docChg>
  </pc:docChgLst>
  <pc:docChgLst>
    <pc:chgData name="Falk, Damian" userId="S::damian.falk@student.unisg.ch::4f16a6b0-c0cc-4ec4-98f5-fa5fde10b3de" providerId="AD" clId="Web-{49461689-A9CF-4EB7-8832-5D1F6C6ACEA8}"/>
    <pc:docChg chg="modSld">
      <pc:chgData name="Falk, Damian" userId="S::damian.falk@student.unisg.ch::4f16a6b0-c0cc-4ec4-98f5-fa5fde10b3de" providerId="AD" clId="Web-{49461689-A9CF-4EB7-8832-5D1F6C6ACEA8}" dt="2023-11-23T17:23:54.700" v="3" actId="20577"/>
      <pc:docMkLst>
        <pc:docMk/>
      </pc:docMkLst>
      <pc:sldChg chg="modSp">
        <pc:chgData name="Falk, Damian" userId="S::damian.falk@student.unisg.ch::4f16a6b0-c0cc-4ec4-98f5-fa5fde10b3de" providerId="AD" clId="Web-{49461689-A9CF-4EB7-8832-5D1F6C6ACEA8}" dt="2023-11-23T17:23:54.700" v="3" actId="20577"/>
        <pc:sldMkLst>
          <pc:docMk/>
          <pc:sldMk cId="3772496692" sldId="256"/>
        </pc:sldMkLst>
        <pc:spChg chg="mod">
          <ac:chgData name="Falk, Damian" userId="S::damian.falk@student.unisg.ch::4f16a6b0-c0cc-4ec4-98f5-fa5fde10b3de" providerId="AD" clId="Web-{49461689-A9CF-4EB7-8832-5D1F6C6ACEA8}" dt="2023-11-23T17:23:54.700" v="3" actId="20577"/>
          <ac:spMkLst>
            <pc:docMk/>
            <pc:sldMk cId="3772496692" sldId="256"/>
            <ac:spMk id="12" creationId="{D3143055-81F2-4195-A863-909ED77C77CF}"/>
          </ac:spMkLst>
        </pc:spChg>
      </pc:sldChg>
    </pc:docChg>
  </pc:docChgLst>
  <pc:docChgLst>
    <pc:chgData name="Maillard, Alexiane" userId="50e9f12d-6c48-4918-8cf8-0a805f3546a2" providerId="ADAL" clId="{3E63FEDC-E9BD-4468-8EE0-3499DA948F86}"/>
    <pc:docChg chg="undo custSel modSld">
      <pc:chgData name="Maillard, Alexiane" userId="50e9f12d-6c48-4918-8cf8-0a805f3546a2" providerId="ADAL" clId="{3E63FEDC-E9BD-4468-8EE0-3499DA948F86}" dt="2023-11-24T06:54:03" v="9" actId="478"/>
      <pc:docMkLst>
        <pc:docMk/>
      </pc:docMkLst>
      <pc:sldChg chg="addSp delSp modSp mod delAnim modAnim">
        <pc:chgData name="Maillard, Alexiane" userId="50e9f12d-6c48-4918-8cf8-0a805f3546a2" providerId="ADAL" clId="{3E63FEDC-E9BD-4468-8EE0-3499DA948F86}" dt="2023-11-24T06:54:03" v="9" actId="478"/>
        <pc:sldMkLst>
          <pc:docMk/>
          <pc:sldMk cId="1386235312" sldId="1588"/>
        </pc:sldMkLst>
        <pc:spChg chg="add del mod">
          <ac:chgData name="Maillard, Alexiane" userId="50e9f12d-6c48-4918-8cf8-0a805f3546a2" providerId="ADAL" clId="{3E63FEDC-E9BD-4468-8EE0-3499DA948F86}" dt="2023-11-24T06:54:03" v="9" actId="478"/>
          <ac:spMkLst>
            <pc:docMk/>
            <pc:sldMk cId="1386235312" sldId="1588"/>
            <ac:spMk id="6" creationId="{4945CD78-80A0-BF5D-FBEC-C23D838695C2}"/>
          </ac:spMkLst>
        </pc:spChg>
        <pc:picChg chg="add del mod">
          <ac:chgData name="Maillard, Alexiane" userId="50e9f12d-6c48-4918-8cf8-0a805f3546a2" providerId="ADAL" clId="{3E63FEDC-E9BD-4468-8EE0-3499DA948F86}" dt="2023-11-24T06:53:59.885" v="8" actId="21"/>
          <ac:picMkLst>
            <pc:docMk/>
            <pc:sldMk cId="1386235312" sldId="1588"/>
            <ac:picMk id="10" creationId="{67E800C0-77F6-26AD-DB16-2446CF29DA28}"/>
          </ac:picMkLst>
        </pc:picChg>
      </pc:sldChg>
    </pc:docChg>
  </pc:docChgLst>
  <pc:docChgLst>
    <pc:chgData name="Bonilla, LeaMarta" userId="S::leamarta.bonilla@student.unisg.ch::aa5362c7-0476-4c50-b52f-35c2791cd063" providerId="AD" clId="Web-{3BB918FE-C6FB-48AB-B0D1-B0D4207624C2}"/>
    <pc:docChg chg="addSld delSld">
      <pc:chgData name="Bonilla, LeaMarta" userId="S::leamarta.bonilla@student.unisg.ch::aa5362c7-0476-4c50-b52f-35c2791cd063" providerId="AD" clId="Web-{3BB918FE-C6FB-48AB-B0D1-B0D4207624C2}" dt="2023-11-21T17:48:51.417" v="1"/>
      <pc:docMkLst>
        <pc:docMk/>
      </pc:docMkLst>
      <pc:sldChg chg="del">
        <pc:chgData name="Bonilla, LeaMarta" userId="S::leamarta.bonilla@student.unisg.ch::aa5362c7-0476-4c50-b52f-35c2791cd063" providerId="AD" clId="Web-{3BB918FE-C6FB-48AB-B0D1-B0D4207624C2}" dt="2023-11-21T17:48:45.057" v="0"/>
        <pc:sldMkLst>
          <pc:docMk/>
          <pc:sldMk cId="1105918467" sldId="1581"/>
        </pc:sldMkLst>
      </pc:sldChg>
      <pc:sldChg chg="add replId">
        <pc:chgData name="Bonilla, LeaMarta" userId="S::leamarta.bonilla@student.unisg.ch::aa5362c7-0476-4c50-b52f-35c2791cd063" providerId="AD" clId="Web-{3BB918FE-C6FB-48AB-B0D1-B0D4207624C2}" dt="2023-11-21T17:48:51.417" v="1"/>
        <pc:sldMkLst>
          <pc:docMk/>
          <pc:sldMk cId="2619354161" sldId="1589"/>
        </pc:sldMkLst>
      </pc:sldChg>
    </pc:docChg>
  </pc:docChgLst>
  <pc:docChgLst>
    <pc:chgData name="JanickThomas Bieli" userId="54614cbc-c64f-4272-8155-bcd4633c70f4" providerId="ADAL" clId="{BCB7BD03-D26F-4A86-B283-6E7ECF502BFA}"/>
    <pc:docChg chg="undo custSel modSld">
      <pc:chgData name="JanickThomas Bieli" userId="54614cbc-c64f-4272-8155-bcd4633c70f4" providerId="ADAL" clId="{BCB7BD03-D26F-4A86-B283-6E7ECF502BFA}" dt="2023-04-20T12:43:29.443" v="211" actId="20577"/>
      <pc:docMkLst>
        <pc:docMk/>
      </pc:docMkLst>
      <pc:sldChg chg="addSp delSp modSp mod">
        <pc:chgData name="JanickThomas Bieli" userId="54614cbc-c64f-4272-8155-bcd4633c70f4" providerId="ADAL" clId="{BCB7BD03-D26F-4A86-B283-6E7ECF502BFA}" dt="2023-04-20T12:42:01.794" v="175"/>
        <pc:sldMkLst>
          <pc:docMk/>
          <pc:sldMk cId="2597776529" sldId="288"/>
        </pc:sldMkLst>
        <pc:spChg chg="mod">
          <ac:chgData name="JanickThomas Bieli" userId="54614cbc-c64f-4272-8155-bcd4633c70f4" providerId="ADAL" clId="{BCB7BD03-D26F-4A86-B283-6E7ECF502BFA}" dt="2023-04-20T12:36:26.674" v="87" actId="1076"/>
          <ac:spMkLst>
            <pc:docMk/>
            <pc:sldMk cId="2597776529" sldId="288"/>
            <ac:spMk id="2" creationId="{0AC03F16-45A2-47BC-B83F-E12938377D60}"/>
          </ac:spMkLst>
        </pc:spChg>
        <pc:spChg chg="mod">
          <ac:chgData name="JanickThomas Bieli" userId="54614cbc-c64f-4272-8155-bcd4633c70f4" providerId="ADAL" clId="{BCB7BD03-D26F-4A86-B283-6E7ECF502BFA}" dt="2023-04-20T12:36:01.061" v="83" actId="1076"/>
          <ac:spMkLst>
            <pc:docMk/>
            <pc:sldMk cId="2597776529" sldId="288"/>
            <ac:spMk id="3" creationId="{5AB32905-E746-AFC6-1FD4-D542856AC5BD}"/>
          </ac:spMkLst>
        </pc:spChg>
        <pc:spChg chg="add del mod">
          <ac:chgData name="JanickThomas Bieli" userId="54614cbc-c64f-4272-8155-bcd4633c70f4" providerId="ADAL" clId="{BCB7BD03-D26F-4A86-B283-6E7ECF502BFA}" dt="2023-04-20T12:35:47.327" v="81" actId="478"/>
          <ac:spMkLst>
            <pc:docMk/>
            <pc:sldMk cId="2597776529" sldId="288"/>
            <ac:spMk id="5" creationId="{7487D93F-24D5-5BEF-94E8-C080D220FE8B}"/>
          </ac:spMkLst>
        </pc:spChg>
        <pc:spChg chg="add mod">
          <ac:chgData name="JanickThomas Bieli" userId="54614cbc-c64f-4272-8155-bcd4633c70f4" providerId="ADAL" clId="{BCB7BD03-D26F-4A86-B283-6E7ECF502BFA}" dt="2023-04-20T12:42:01.794" v="175"/>
          <ac:spMkLst>
            <pc:docMk/>
            <pc:sldMk cId="2597776529" sldId="288"/>
            <ac:spMk id="6" creationId="{0E33CF77-9676-7C0A-30FA-2516E9BD5F07}"/>
          </ac:spMkLst>
        </pc:spChg>
        <pc:spChg chg="add del">
          <ac:chgData name="JanickThomas Bieli" userId="54614cbc-c64f-4272-8155-bcd4633c70f4" providerId="ADAL" clId="{BCB7BD03-D26F-4A86-B283-6E7ECF502BFA}" dt="2023-04-20T12:41:57.841" v="173" actId="22"/>
          <ac:spMkLst>
            <pc:docMk/>
            <pc:sldMk cId="2597776529" sldId="288"/>
            <ac:spMk id="8" creationId="{199772F3-D96B-EE2C-0C2D-0940BF9E1397}"/>
          </ac:spMkLst>
        </pc:spChg>
      </pc:sldChg>
      <pc:sldChg chg="addSp modSp mod">
        <pc:chgData name="JanickThomas Bieli" userId="54614cbc-c64f-4272-8155-bcd4633c70f4" providerId="ADAL" clId="{BCB7BD03-D26F-4A86-B283-6E7ECF502BFA}" dt="2023-04-20T12:41:31.151" v="164" actId="1076"/>
        <pc:sldMkLst>
          <pc:docMk/>
          <pc:sldMk cId="3555160724" sldId="1551"/>
        </pc:sldMkLst>
        <pc:spChg chg="add mod">
          <ac:chgData name="JanickThomas Bieli" userId="54614cbc-c64f-4272-8155-bcd4633c70f4" providerId="ADAL" clId="{BCB7BD03-D26F-4A86-B283-6E7ECF502BFA}" dt="2023-04-20T12:41:25.534" v="163" actId="255"/>
          <ac:spMkLst>
            <pc:docMk/>
            <pc:sldMk cId="3555160724" sldId="1551"/>
            <ac:spMk id="3" creationId="{641BA0E1-8D6C-A9CA-73FE-3B2AE7D021E4}"/>
          </ac:spMkLst>
        </pc:spChg>
        <pc:spChg chg="mod">
          <ac:chgData name="JanickThomas Bieli" userId="54614cbc-c64f-4272-8155-bcd4633c70f4" providerId="ADAL" clId="{BCB7BD03-D26F-4A86-B283-6E7ECF502BFA}" dt="2023-04-20T12:41:31.151" v="164" actId="1076"/>
          <ac:spMkLst>
            <pc:docMk/>
            <pc:sldMk cId="3555160724" sldId="1551"/>
            <ac:spMk id="7" creationId="{F666E8F7-8B25-B437-131E-F8882B62E16E}"/>
          </ac:spMkLst>
        </pc:spChg>
      </pc:sldChg>
      <pc:sldChg chg="addSp modSp mod">
        <pc:chgData name="JanickThomas Bieli" userId="54614cbc-c64f-4272-8155-bcd4633c70f4" providerId="ADAL" clId="{BCB7BD03-D26F-4A86-B283-6E7ECF502BFA}" dt="2023-04-20T12:41:40.503" v="167" actId="20577"/>
        <pc:sldMkLst>
          <pc:docMk/>
          <pc:sldMk cId="2741464550" sldId="1567"/>
        </pc:sldMkLst>
        <pc:spChg chg="add mod">
          <ac:chgData name="JanickThomas Bieli" userId="54614cbc-c64f-4272-8155-bcd4633c70f4" providerId="ADAL" clId="{BCB7BD03-D26F-4A86-B283-6E7ECF502BFA}" dt="2023-04-20T12:41:40.503" v="167" actId="20577"/>
          <ac:spMkLst>
            <pc:docMk/>
            <pc:sldMk cId="2741464550" sldId="1567"/>
            <ac:spMk id="6" creationId="{7E3EFB16-B286-C4DD-5AD2-FBE9A5588FEB}"/>
          </ac:spMkLst>
        </pc:spChg>
      </pc:sldChg>
      <pc:sldChg chg="addSp modSp mod">
        <pc:chgData name="JanickThomas Bieli" userId="54614cbc-c64f-4272-8155-bcd4633c70f4" providerId="ADAL" clId="{BCB7BD03-D26F-4A86-B283-6E7ECF502BFA}" dt="2023-04-20T12:41:49.437" v="170" actId="20577"/>
        <pc:sldMkLst>
          <pc:docMk/>
          <pc:sldMk cId="3246657454" sldId="1568"/>
        </pc:sldMkLst>
        <pc:spChg chg="add mod">
          <ac:chgData name="JanickThomas Bieli" userId="54614cbc-c64f-4272-8155-bcd4633c70f4" providerId="ADAL" clId="{BCB7BD03-D26F-4A86-B283-6E7ECF502BFA}" dt="2023-04-20T12:41:49.437" v="170" actId="20577"/>
          <ac:spMkLst>
            <pc:docMk/>
            <pc:sldMk cId="3246657454" sldId="1568"/>
            <ac:spMk id="6" creationId="{5F9839E5-9B1C-E336-576D-5E11680FD6CE}"/>
          </ac:spMkLst>
        </pc:spChg>
      </pc:sldChg>
      <pc:sldChg chg="addSp modSp mod">
        <pc:chgData name="JanickThomas Bieli" userId="54614cbc-c64f-4272-8155-bcd4633c70f4" providerId="ADAL" clId="{BCB7BD03-D26F-4A86-B283-6E7ECF502BFA}" dt="2023-04-20T12:42:13.455" v="178" actId="20577"/>
        <pc:sldMkLst>
          <pc:docMk/>
          <pc:sldMk cId="761030588" sldId="1570"/>
        </pc:sldMkLst>
        <pc:spChg chg="mod">
          <ac:chgData name="JanickThomas Bieli" userId="54614cbc-c64f-4272-8155-bcd4633c70f4" providerId="ADAL" clId="{BCB7BD03-D26F-4A86-B283-6E7ECF502BFA}" dt="2023-04-20T12:36:34.515" v="89" actId="1076"/>
          <ac:spMkLst>
            <pc:docMk/>
            <pc:sldMk cId="761030588" sldId="1570"/>
            <ac:spMk id="2" creationId="{B96CACAD-078B-720D-72AB-F2A4DBBAC063}"/>
          </ac:spMkLst>
        </pc:spChg>
        <pc:spChg chg="add mod">
          <ac:chgData name="JanickThomas Bieli" userId="54614cbc-c64f-4272-8155-bcd4633c70f4" providerId="ADAL" clId="{BCB7BD03-D26F-4A86-B283-6E7ECF502BFA}" dt="2023-04-20T12:42:13.455" v="178" actId="20577"/>
          <ac:spMkLst>
            <pc:docMk/>
            <pc:sldMk cId="761030588" sldId="1570"/>
            <ac:spMk id="3" creationId="{34A673C7-A7F0-763B-3668-0A63C069C9FD}"/>
          </ac:spMkLst>
        </pc:spChg>
        <pc:spChg chg="mod">
          <ac:chgData name="JanickThomas Bieli" userId="54614cbc-c64f-4272-8155-bcd4633c70f4" providerId="ADAL" clId="{BCB7BD03-D26F-4A86-B283-6E7ECF502BFA}" dt="2023-04-20T12:36:39.824" v="91" actId="1076"/>
          <ac:spMkLst>
            <pc:docMk/>
            <pc:sldMk cId="761030588" sldId="1570"/>
            <ac:spMk id="6" creationId="{28343401-1E36-6CA3-E9CD-FA8B9AEB8192}"/>
          </ac:spMkLst>
        </pc:spChg>
        <pc:picChg chg="mod">
          <ac:chgData name="JanickThomas Bieli" userId="54614cbc-c64f-4272-8155-bcd4633c70f4" providerId="ADAL" clId="{BCB7BD03-D26F-4A86-B283-6E7ECF502BFA}" dt="2023-04-20T12:36:42.634" v="92" actId="1076"/>
          <ac:picMkLst>
            <pc:docMk/>
            <pc:sldMk cId="761030588" sldId="1570"/>
            <ac:picMk id="8" creationId="{5998C6F5-9393-64D6-93BA-C973A3A68BFA}"/>
          </ac:picMkLst>
        </pc:picChg>
      </pc:sldChg>
      <pc:sldChg chg="addSp modSp mod">
        <pc:chgData name="JanickThomas Bieli" userId="54614cbc-c64f-4272-8155-bcd4633c70f4" providerId="ADAL" clId="{BCB7BD03-D26F-4A86-B283-6E7ECF502BFA}" dt="2023-04-20T12:42:24.186" v="181" actId="20577"/>
        <pc:sldMkLst>
          <pc:docMk/>
          <pc:sldMk cId="3967757145" sldId="1571"/>
        </pc:sldMkLst>
        <pc:spChg chg="mod">
          <ac:chgData name="JanickThomas Bieli" userId="54614cbc-c64f-4272-8155-bcd4633c70f4" providerId="ADAL" clId="{BCB7BD03-D26F-4A86-B283-6E7ECF502BFA}" dt="2023-04-20T12:36:59.634" v="94" actId="1076"/>
          <ac:spMkLst>
            <pc:docMk/>
            <pc:sldMk cId="3967757145" sldId="1571"/>
            <ac:spMk id="2" creationId="{B96CACAD-078B-720D-72AB-F2A4DBBAC063}"/>
          </ac:spMkLst>
        </pc:spChg>
        <pc:spChg chg="add mod">
          <ac:chgData name="JanickThomas Bieli" userId="54614cbc-c64f-4272-8155-bcd4633c70f4" providerId="ADAL" clId="{BCB7BD03-D26F-4A86-B283-6E7ECF502BFA}" dt="2023-04-20T12:42:24.186" v="181" actId="20577"/>
          <ac:spMkLst>
            <pc:docMk/>
            <pc:sldMk cId="3967757145" sldId="1571"/>
            <ac:spMk id="3" creationId="{2A4ECA5E-8C2E-D938-ECAF-0DC812DA0508}"/>
          </ac:spMkLst>
        </pc:spChg>
        <pc:spChg chg="mod">
          <ac:chgData name="JanickThomas Bieli" userId="54614cbc-c64f-4272-8155-bcd4633c70f4" providerId="ADAL" clId="{BCB7BD03-D26F-4A86-B283-6E7ECF502BFA}" dt="2023-04-20T12:37:04.676" v="95" actId="1076"/>
          <ac:spMkLst>
            <pc:docMk/>
            <pc:sldMk cId="3967757145" sldId="1571"/>
            <ac:spMk id="9" creationId="{CA3AA344-88B1-06CB-16EC-0F7BDD931BB5}"/>
          </ac:spMkLst>
        </pc:spChg>
      </pc:sldChg>
      <pc:sldChg chg="addSp modSp mod">
        <pc:chgData name="JanickThomas Bieli" userId="54614cbc-c64f-4272-8155-bcd4633c70f4" providerId="ADAL" clId="{BCB7BD03-D26F-4A86-B283-6E7ECF502BFA}" dt="2023-04-20T12:42:31.409" v="184" actId="20577"/>
        <pc:sldMkLst>
          <pc:docMk/>
          <pc:sldMk cId="2574699634" sldId="1572"/>
        </pc:sldMkLst>
        <pc:spChg chg="mod">
          <ac:chgData name="JanickThomas Bieli" userId="54614cbc-c64f-4272-8155-bcd4633c70f4" providerId="ADAL" clId="{BCB7BD03-D26F-4A86-B283-6E7ECF502BFA}" dt="2023-04-20T12:37:11.020" v="97" actId="1076"/>
          <ac:spMkLst>
            <pc:docMk/>
            <pc:sldMk cId="2574699634" sldId="1572"/>
            <ac:spMk id="2" creationId="{B96CACAD-078B-720D-72AB-F2A4DBBAC063}"/>
          </ac:spMkLst>
        </pc:spChg>
        <pc:spChg chg="add mod">
          <ac:chgData name="JanickThomas Bieli" userId="54614cbc-c64f-4272-8155-bcd4633c70f4" providerId="ADAL" clId="{BCB7BD03-D26F-4A86-B283-6E7ECF502BFA}" dt="2023-04-20T12:42:31.409" v="184" actId="20577"/>
          <ac:spMkLst>
            <pc:docMk/>
            <pc:sldMk cId="2574699634" sldId="1572"/>
            <ac:spMk id="6" creationId="{4570D8D1-F4EA-189F-47C3-88E491FD1E21}"/>
          </ac:spMkLst>
        </pc:spChg>
      </pc:sldChg>
      <pc:sldChg chg="addSp modSp mod">
        <pc:chgData name="JanickThomas Bieli" userId="54614cbc-c64f-4272-8155-bcd4633c70f4" providerId="ADAL" clId="{BCB7BD03-D26F-4A86-B283-6E7ECF502BFA}" dt="2023-04-20T12:42:37.996" v="187" actId="20577"/>
        <pc:sldMkLst>
          <pc:docMk/>
          <pc:sldMk cId="3371461181" sldId="1573"/>
        </pc:sldMkLst>
        <pc:spChg chg="mod">
          <ac:chgData name="JanickThomas Bieli" userId="54614cbc-c64f-4272-8155-bcd4633c70f4" providerId="ADAL" clId="{BCB7BD03-D26F-4A86-B283-6E7ECF502BFA}" dt="2023-04-20T12:37:22.277" v="100" actId="14100"/>
          <ac:spMkLst>
            <pc:docMk/>
            <pc:sldMk cId="3371461181" sldId="1573"/>
            <ac:spMk id="2" creationId="{B96CACAD-078B-720D-72AB-F2A4DBBAC063}"/>
          </ac:spMkLst>
        </pc:spChg>
        <pc:spChg chg="add mod">
          <ac:chgData name="JanickThomas Bieli" userId="54614cbc-c64f-4272-8155-bcd4633c70f4" providerId="ADAL" clId="{BCB7BD03-D26F-4A86-B283-6E7ECF502BFA}" dt="2023-04-20T12:42:37.996" v="187" actId="20577"/>
          <ac:spMkLst>
            <pc:docMk/>
            <pc:sldMk cId="3371461181" sldId="1573"/>
            <ac:spMk id="3" creationId="{B9BCBBD3-2E6C-ADCF-1D5F-E190AA4442BB}"/>
          </ac:spMkLst>
        </pc:spChg>
      </pc:sldChg>
      <pc:sldChg chg="addSp modSp mod">
        <pc:chgData name="JanickThomas Bieli" userId="54614cbc-c64f-4272-8155-bcd4633c70f4" providerId="ADAL" clId="{BCB7BD03-D26F-4A86-B283-6E7ECF502BFA}" dt="2023-04-20T12:42:45.016" v="190" actId="20577"/>
        <pc:sldMkLst>
          <pc:docMk/>
          <pc:sldMk cId="3474089893" sldId="1574"/>
        </pc:sldMkLst>
        <pc:spChg chg="mod">
          <ac:chgData name="JanickThomas Bieli" userId="54614cbc-c64f-4272-8155-bcd4633c70f4" providerId="ADAL" clId="{BCB7BD03-D26F-4A86-B283-6E7ECF502BFA}" dt="2023-04-20T12:37:36.165" v="102" actId="1076"/>
          <ac:spMkLst>
            <pc:docMk/>
            <pc:sldMk cId="3474089893" sldId="1574"/>
            <ac:spMk id="2" creationId="{B96CACAD-078B-720D-72AB-F2A4DBBAC063}"/>
          </ac:spMkLst>
        </pc:spChg>
        <pc:spChg chg="add mod">
          <ac:chgData name="JanickThomas Bieli" userId="54614cbc-c64f-4272-8155-bcd4633c70f4" providerId="ADAL" clId="{BCB7BD03-D26F-4A86-B283-6E7ECF502BFA}" dt="2023-04-20T12:42:45.016" v="190" actId="20577"/>
          <ac:spMkLst>
            <pc:docMk/>
            <pc:sldMk cId="3474089893" sldId="1574"/>
            <ac:spMk id="3" creationId="{42BD6809-B7AE-9952-CF2C-DFF30AB6A704}"/>
          </ac:spMkLst>
        </pc:spChg>
        <pc:spChg chg="mod">
          <ac:chgData name="JanickThomas Bieli" userId="54614cbc-c64f-4272-8155-bcd4633c70f4" providerId="ADAL" clId="{BCB7BD03-D26F-4A86-B283-6E7ECF502BFA}" dt="2023-04-20T12:37:42.602" v="103" actId="1076"/>
          <ac:spMkLst>
            <pc:docMk/>
            <pc:sldMk cId="3474089893" sldId="1574"/>
            <ac:spMk id="11" creationId="{C90009FD-0FFD-ADCD-AF62-9213EFAAEBA7}"/>
          </ac:spMkLst>
        </pc:spChg>
        <pc:picChg chg="mod">
          <ac:chgData name="JanickThomas Bieli" userId="54614cbc-c64f-4272-8155-bcd4633c70f4" providerId="ADAL" clId="{BCB7BD03-D26F-4A86-B283-6E7ECF502BFA}" dt="2023-04-20T12:37:47.817" v="105" actId="1076"/>
          <ac:picMkLst>
            <pc:docMk/>
            <pc:sldMk cId="3474089893" sldId="1574"/>
            <ac:picMk id="12" creationId="{FD9814E2-B978-1DD1-D998-3AD3E7BF54D0}"/>
          </ac:picMkLst>
        </pc:picChg>
      </pc:sldChg>
      <pc:sldChg chg="addSp modSp mod">
        <pc:chgData name="JanickThomas Bieli" userId="54614cbc-c64f-4272-8155-bcd4633c70f4" providerId="ADAL" clId="{BCB7BD03-D26F-4A86-B283-6E7ECF502BFA}" dt="2023-04-20T12:42:51.783" v="193" actId="20577"/>
        <pc:sldMkLst>
          <pc:docMk/>
          <pc:sldMk cId="2172075571" sldId="1575"/>
        </pc:sldMkLst>
        <pc:spChg chg="mod">
          <ac:chgData name="JanickThomas Bieli" userId="54614cbc-c64f-4272-8155-bcd4633c70f4" providerId="ADAL" clId="{BCB7BD03-D26F-4A86-B283-6E7ECF502BFA}" dt="2023-04-20T12:37:55.297" v="107" actId="1076"/>
          <ac:spMkLst>
            <pc:docMk/>
            <pc:sldMk cId="2172075571" sldId="1575"/>
            <ac:spMk id="2" creationId="{B96CACAD-078B-720D-72AB-F2A4DBBAC063}"/>
          </ac:spMkLst>
        </pc:spChg>
        <pc:spChg chg="add mod">
          <ac:chgData name="JanickThomas Bieli" userId="54614cbc-c64f-4272-8155-bcd4633c70f4" providerId="ADAL" clId="{BCB7BD03-D26F-4A86-B283-6E7ECF502BFA}" dt="2023-04-20T12:42:51.783" v="193" actId="20577"/>
          <ac:spMkLst>
            <pc:docMk/>
            <pc:sldMk cId="2172075571" sldId="1575"/>
            <ac:spMk id="3" creationId="{81214FB7-2C94-419F-A7ED-557ADF544D2D}"/>
          </ac:spMkLst>
        </pc:spChg>
      </pc:sldChg>
      <pc:sldChg chg="addSp modSp mod">
        <pc:chgData name="JanickThomas Bieli" userId="54614cbc-c64f-4272-8155-bcd4633c70f4" providerId="ADAL" clId="{BCB7BD03-D26F-4A86-B283-6E7ECF502BFA}" dt="2023-04-20T12:42:58.250" v="196" actId="20577"/>
        <pc:sldMkLst>
          <pc:docMk/>
          <pc:sldMk cId="2130080384" sldId="1576"/>
        </pc:sldMkLst>
        <pc:spChg chg="mod">
          <ac:chgData name="JanickThomas Bieli" userId="54614cbc-c64f-4272-8155-bcd4633c70f4" providerId="ADAL" clId="{BCB7BD03-D26F-4A86-B283-6E7ECF502BFA}" dt="2023-04-20T12:38:58.499" v="126" actId="1076"/>
          <ac:spMkLst>
            <pc:docMk/>
            <pc:sldMk cId="2130080384" sldId="1576"/>
            <ac:spMk id="2" creationId="{B96CACAD-078B-720D-72AB-F2A4DBBAC063}"/>
          </ac:spMkLst>
        </pc:spChg>
        <pc:spChg chg="add mod">
          <ac:chgData name="JanickThomas Bieli" userId="54614cbc-c64f-4272-8155-bcd4633c70f4" providerId="ADAL" clId="{BCB7BD03-D26F-4A86-B283-6E7ECF502BFA}" dt="2023-04-20T12:42:58.250" v="196" actId="20577"/>
          <ac:spMkLst>
            <pc:docMk/>
            <pc:sldMk cId="2130080384" sldId="1576"/>
            <ac:spMk id="3" creationId="{3ACA62D0-690F-45BD-59EF-BE107756D87E}"/>
          </ac:spMkLst>
        </pc:spChg>
        <pc:spChg chg="mod">
          <ac:chgData name="JanickThomas Bieli" userId="54614cbc-c64f-4272-8155-bcd4633c70f4" providerId="ADAL" clId="{BCB7BD03-D26F-4A86-B283-6E7ECF502BFA}" dt="2023-04-20T12:38:53.641" v="125" actId="1076"/>
          <ac:spMkLst>
            <pc:docMk/>
            <pc:sldMk cId="2130080384" sldId="1576"/>
            <ac:spMk id="11" creationId="{F7F8F547-2E82-0C9B-B527-752C835C8172}"/>
          </ac:spMkLst>
        </pc:spChg>
        <pc:picChg chg="mod">
          <ac:chgData name="JanickThomas Bieli" userId="54614cbc-c64f-4272-8155-bcd4633c70f4" providerId="ADAL" clId="{BCB7BD03-D26F-4A86-B283-6E7ECF502BFA}" dt="2023-04-20T12:38:50.312" v="124" actId="1076"/>
          <ac:picMkLst>
            <pc:docMk/>
            <pc:sldMk cId="2130080384" sldId="1576"/>
            <ac:picMk id="12" creationId="{890C96B0-639B-2B97-3C18-4ADB1B6ADED6}"/>
          </ac:picMkLst>
        </pc:picChg>
      </pc:sldChg>
      <pc:sldChg chg="addSp modSp mod">
        <pc:chgData name="JanickThomas Bieli" userId="54614cbc-c64f-4272-8155-bcd4633c70f4" providerId="ADAL" clId="{BCB7BD03-D26F-4A86-B283-6E7ECF502BFA}" dt="2023-04-20T12:43:03.681" v="199" actId="20577"/>
        <pc:sldMkLst>
          <pc:docMk/>
          <pc:sldMk cId="983026212" sldId="1577"/>
        </pc:sldMkLst>
        <pc:spChg chg="mod">
          <ac:chgData name="JanickThomas Bieli" userId="54614cbc-c64f-4272-8155-bcd4633c70f4" providerId="ADAL" clId="{BCB7BD03-D26F-4A86-B283-6E7ECF502BFA}" dt="2023-04-20T12:39:17.791" v="128" actId="1076"/>
          <ac:spMkLst>
            <pc:docMk/>
            <pc:sldMk cId="983026212" sldId="1577"/>
            <ac:spMk id="2" creationId="{B96CACAD-078B-720D-72AB-F2A4DBBAC063}"/>
          </ac:spMkLst>
        </pc:spChg>
        <pc:spChg chg="add mod">
          <ac:chgData name="JanickThomas Bieli" userId="54614cbc-c64f-4272-8155-bcd4633c70f4" providerId="ADAL" clId="{BCB7BD03-D26F-4A86-B283-6E7ECF502BFA}" dt="2023-04-20T12:43:03.681" v="199" actId="20577"/>
          <ac:spMkLst>
            <pc:docMk/>
            <pc:sldMk cId="983026212" sldId="1577"/>
            <ac:spMk id="3" creationId="{04EFD9D6-C0DF-089C-BB3D-DEB643EA6E76}"/>
          </ac:spMkLst>
        </pc:spChg>
        <pc:spChg chg="mod">
          <ac:chgData name="JanickThomas Bieli" userId="54614cbc-c64f-4272-8155-bcd4633c70f4" providerId="ADAL" clId="{BCB7BD03-D26F-4A86-B283-6E7ECF502BFA}" dt="2023-04-20T12:39:29.020" v="130" actId="1076"/>
          <ac:spMkLst>
            <pc:docMk/>
            <pc:sldMk cId="983026212" sldId="1577"/>
            <ac:spMk id="16" creationId="{3A0AE78A-040C-8DA0-4EA4-6BC6B2B27774}"/>
          </ac:spMkLst>
        </pc:spChg>
        <pc:picChg chg="mod">
          <ac:chgData name="JanickThomas Bieli" userId="54614cbc-c64f-4272-8155-bcd4633c70f4" providerId="ADAL" clId="{BCB7BD03-D26F-4A86-B283-6E7ECF502BFA}" dt="2023-04-20T12:39:39.358" v="132" actId="1076"/>
          <ac:picMkLst>
            <pc:docMk/>
            <pc:sldMk cId="983026212" sldId="1577"/>
            <ac:picMk id="18" creationId="{726AE8E6-4C9E-0B68-5CB5-F84345BC3A61}"/>
          </ac:picMkLst>
        </pc:picChg>
      </pc:sldChg>
      <pc:sldChg chg="addSp modSp mod">
        <pc:chgData name="JanickThomas Bieli" userId="54614cbc-c64f-4272-8155-bcd4633c70f4" providerId="ADAL" clId="{BCB7BD03-D26F-4A86-B283-6E7ECF502BFA}" dt="2023-04-20T12:43:16.284" v="205" actId="20577"/>
        <pc:sldMkLst>
          <pc:docMk/>
          <pc:sldMk cId="1065212487" sldId="1578"/>
        </pc:sldMkLst>
        <pc:spChg chg="mod">
          <ac:chgData name="JanickThomas Bieli" userId="54614cbc-c64f-4272-8155-bcd4633c70f4" providerId="ADAL" clId="{BCB7BD03-D26F-4A86-B283-6E7ECF502BFA}" dt="2023-04-20T12:40:08.881" v="139" actId="1076"/>
          <ac:spMkLst>
            <pc:docMk/>
            <pc:sldMk cId="1065212487" sldId="1578"/>
            <ac:spMk id="2" creationId="{B96CACAD-078B-720D-72AB-F2A4DBBAC063}"/>
          </ac:spMkLst>
        </pc:spChg>
        <pc:spChg chg="add mod">
          <ac:chgData name="JanickThomas Bieli" userId="54614cbc-c64f-4272-8155-bcd4633c70f4" providerId="ADAL" clId="{BCB7BD03-D26F-4A86-B283-6E7ECF502BFA}" dt="2023-04-20T12:43:16.284" v="205" actId="20577"/>
          <ac:spMkLst>
            <pc:docMk/>
            <pc:sldMk cId="1065212487" sldId="1578"/>
            <ac:spMk id="3" creationId="{F30BAE50-61E0-4F73-ADAC-503556118302}"/>
          </ac:spMkLst>
        </pc:spChg>
        <pc:spChg chg="mod">
          <ac:chgData name="JanickThomas Bieli" userId="54614cbc-c64f-4272-8155-bcd4633c70f4" providerId="ADAL" clId="{BCB7BD03-D26F-4A86-B283-6E7ECF502BFA}" dt="2023-04-20T12:40:01.717" v="136" actId="1076"/>
          <ac:spMkLst>
            <pc:docMk/>
            <pc:sldMk cId="1065212487" sldId="1578"/>
            <ac:spMk id="18" creationId="{C18A666D-150D-EC65-4E46-3CB4775466A9}"/>
          </ac:spMkLst>
        </pc:spChg>
      </pc:sldChg>
      <pc:sldChg chg="addSp modSp mod">
        <pc:chgData name="JanickThomas Bieli" userId="54614cbc-c64f-4272-8155-bcd4633c70f4" providerId="ADAL" clId="{BCB7BD03-D26F-4A86-B283-6E7ECF502BFA}" dt="2023-04-20T12:43:22.364" v="208" actId="20577"/>
        <pc:sldMkLst>
          <pc:docMk/>
          <pc:sldMk cId="4134961369" sldId="1579"/>
        </pc:sldMkLst>
        <pc:spChg chg="add mod">
          <ac:chgData name="JanickThomas Bieli" userId="54614cbc-c64f-4272-8155-bcd4633c70f4" providerId="ADAL" clId="{BCB7BD03-D26F-4A86-B283-6E7ECF502BFA}" dt="2023-04-20T12:43:22.364" v="208" actId="20577"/>
          <ac:spMkLst>
            <pc:docMk/>
            <pc:sldMk cId="4134961369" sldId="1579"/>
            <ac:spMk id="2" creationId="{ECD7AE63-ED49-B485-3894-C8245818A559}"/>
          </ac:spMkLst>
        </pc:spChg>
        <pc:spChg chg="mod">
          <ac:chgData name="JanickThomas Bieli" userId="54614cbc-c64f-4272-8155-bcd4633c70f4" providerId="ADAL" clId="{BCB7BD03-D26F-4A86-B283-6E7ECF502BFA}" dt="2023-04-20T12:40:18.705" v="142" actId="1076"/>
          <ac:spMkLst>
            <pc:docMk/>
            <pc:sldMk cId="4134961369" sldId="1579"/>
            <ac:spMk id="13" creationId="{A244357B-FD44-EE2B-1AA2-D533A360550B}"/>
          </ac:spMkLst>
        </pc:spChg>
      </pc:sldChg>
      <pc:sldChg chg="addSp modSp mod">
        <pc:chgData name="JanickThomas Bieli" userId="54614cbc-c64f-4272-8155-bcd4633c70f4" providerId="ADAL" clId="{BCB7BD03-D26F-4A86-B283-6E7ECF502BFA}" dt="2023-04-20T12:43:29.443" v="211" actId="20577"/>
        <pc:sldMkLst>
          <pc:docMk/>
          <pc:sldMk cId="2538237896" sldId="1580"/>
        </pc:sldMkLst>
        <pc:spChg chg="add mod">
          <ac:chgData name="JanickThomas Bieli" userId="54614cbc-c64f-4272-8155-bcd4633c70f4" providerId="ADAL" clId="{BCB7BD03-D26F-4A86-B283-6E7ECF502BFA}" dt="2023-04-20T12:43:29.443" v="211" actId="20577"/>
          <ac:spMkLst>
            <pc:docMk/>
            <pc:sldMk cId="2538237896" sldId="1580"/>
            <ac:spMk id="2" creationId="{D17D90FA-5903-2A42-B0A4-C9B27BEFFAB9}"/>
          </ac:spMkLst>
        </pc:spChg>
        <pc:spChg chg="mod">
          <ac:chgData name="JanickThomas Bieli" userId="54614cbc-c64f-4272-8155-bcd4633c70f4" providerId="ADAL" clId="{BCB7BD03-D26F-4A86-B283-6E7ECF502BFA}" dt="2023-04-20T12:40:28.775" v="145" actId="1076"/>
          <ac:spMkLst>
            <pc:docMk/>
            <pc:sldMk cId="2538237896" sldId="1580"/>
            <ac:spMk id="9" creationId="{75D5CFE3-F1FD-4EB6-9C43-F56853B32AEF}"/>
          </ac:spMkLst>
        </pc:spChg>
      </pc:sldChg>
      <pc:sldChg chg="addSp modSp mod">
        <pc:chgData name="JanickThomas Bieli" userId="54614cbc-c64f-4272-8155-bcd4633c70f4" providerId="ADAL" clId="{BCB7BD03-D26F-4A86-B283-6E7ECF502BFA}" dt="2023-04-20T12:43:10.175" v="202" actId="20577"/>
        <pc:sldMkLst>
          <pc:docMk/>
          <pc:sldMk cId="1276492678" sldId="1583"/>
        </pc:sldMkLst>
        <pc:spChg chg="add mod">
          <ac:chgData name="JanickThomas Bieli" userId="54614cbc-c64f-4272-8155-bcd4633c70f4" providerId="ADAL" clId="{BCB7BD03-D26F-4A86-B283-6E7ECF502BFA}" dt="2023-04-20T12:43:10.175" v="202" actId="20577"/>
          <ac:spMkLst>
            <pc:docMk/>
            <pc:sldMk cId="1276492678" sldId="1583"/>
            <ac:spMk id="2" creationId="{15E8E404-0B7B-3576-A5E6-3C6896541C40}"/>
          </ac:spMkLst>
        </pc:spChg>
        <pc:spChg chg="mod">
          <ac:chgData name="JanickThomas Bieli" userId="54614cbc-c64f-4272-8155-bcd4633c70f4" providerId="ADAL" clId="{BCB7BD03-D26F-4A86-B283-6E7ECF502BFA}" dt="2023-04-20T12:39:53.936" v="135" actId="1076"/>
          <ac:spMkLst>
            <pc:docMk/>
            <pc:sldMk cId="1276492678" sldId="1583"/>
            <ac:spMk id="9" creationId="{75D5CFE3-F1FD-4EB6-9C43-F56853B32AEF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8F3C46-3F11-47F1-8233-2D2A4F656EAA}" type="datetimeFigureOut">
              <a:rPr lang="de-DE" smtClean="0"/>
              <a:t>24.11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18140C-7C65-48C5-AF48-8AE3F4A693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450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18140C-7C65-48C5-AF48-8AE3F4A693ED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37686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81C78C-DF60-43AA-9025-896AF7F5120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95044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image" Target="../media/image7.jpeg"/><Relationship Id="rId7" Type="http://schemas.openxmlformats.org/officeDocument/2006/relationships/image" Target="../media/image10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10" Type="http://schemas.openxmlformats.org/officeDocument/2006/relationships/image" Target="../media/image2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2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el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EEE742CE-731B-4B2E-A341-DD1A2BF3F5B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5143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reeform: Shape 8">
            <a:extLst>
              <a:ext uri="{FF2B5EF4-FFF2-40B4-BE49-F238E27FC236}">
                <a16:creationId xmlns:a16="http://schemas.microsoft.com/office/drawing/2014/main" id="{DFF74B8C-606D-4C49-A5DA-1496FFDE21B4}"/>
              </a:ext>
            </a:extLst>
          </p:cNvPr>
          <p:cNvSpPr/>
          <p:nvPr/>
        </p:nvSpPr>
        <p:spPr>
          <a:xfrm>
            <a:off x="4583371" y="3168046"/>
            <a:ext cx="4560629" cy="1975452"/>
          </a:xfrm>
          <a:custGeom>
            <a:avLst/>
            <a:gdLst>
              <a:gd name="connsiteX0" fmla="*/ 4560629 w 4560629"/>
              <a:gd name="connsiteY0" fmla="*/ 0 h 1975452"/>
              <a:gd name="connsiteX1" fmla="*/ 4560629 w 4560629"/>
              <a:gd name="connsiteY1" fmla="*/ 1975452 h 1975452"/>
              <a:gd name="connsiteX2" fmla="*/ 166568 w 4560629"/>
              <a:gd name="connsiteY2" fmla="*/ 1975452 h 1975452"/>
              <a:gd name="connsiteX3" fmla="*/ 0 w 4560629"/>
              <a:gd name="connsiteY3" fmla="*/ 1045124 h 1975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60629" h="1975452">
                <a:moveTo>
                  <a:pt x="4560629" y="0"/>
                </a:moveTo>
                <a:lnTo>
                  <a:pt x="4560629" y="1975452"/>
                </a:lnTo>
                <a:lnTo>
                  <a:pt x="166568" y="1975452"/>
                </a:lnTo>
                <a:lnTo>
                  <a:pt x="0" y="1045124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9B6FC2A-29C4-4742-B32D-604659C0CB22}"/>
              </a:ext>
            </a:extLst>
          </p:cNvPr>
          <p:cNvSpPr txBox="1"/>
          <p:nvPr/>
        </p:nvSpPr>
        <p:spPr>
          <a:xfrm>
            <a:off x="6789318" y="4613375"/>
            <a:ext cx="199590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1000">
                <a:solidFill>
                  <a:schemeClr val="bg2"/>
                </a:solidFill>
              </a:rPr>
              <a:t>From </a:t>
            </a:r>
            <a:r>
              <a:rPr lang="en-GB" sz="1000" err="1">
                <a:solidFill>
                  <a:schemeClr val="bg2"/>
                </a:solidFill>
              </a:rPr>
              <a:t>insight</a:t>
            </a:r>
            <a:r>
              <a:rPr lang="en-GB" sz="1000">
                <a:solidFill>
                  <a:schemeClr val="bg2"/>
                </a:solidFill>
              </a:rPr>
              <a:t> </a:t>
            </a:r>
            <a:r>
              <a:rPr lang="en-GB" sz="1000" err="1">
                <a:solidFill>
                  <a:schemeClr val="bg2"/>
                </a:solidFill>
              </a:rPr>
              <a:t>to</a:t>
            </a:r>
            <a:r>
              <a:rPr lang="en-GB" sz="1000">
                <a:solidFill>
                  <a:schemeClr val="bg2"/>
                </a:solidFill>
              </a:rPr>
              <a:t> </a:t>
            </a:r>
            <a:r>
              <a:rPr lang="en-GB" sz="1000" err="1">
                <a:solidFill>
                  <a:schemeClr val="bg2"/>
                </a:solidFill>
              </a:rPr>
              <a:t>impact</a:t>
            </a:r>
            <a:r>
              <a:rPr lang="en-GB" sz="1000">
                <a:solidFill>
                  <a:schemeClr val="bg2"/>
                </a:solidFill>
              </a:rPr>
              <a:t>.</a:t>
            </a:r>
          </a:p>
        </p:txBody>
      </p:sp>
      <p:pic>
        <p:nvPicPr>
          <p:cNvPr id="1609015164" name="Rectangle 2" descr="{&quot;templafy&quot;:{&quot;id&quot;:&quot;b9ddadaa-0495-446c-a774-3deec88f84b2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1173" y="313025"/>
            <a:ext cx="2221200" cy="460800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A891F29F-BED8-4555-9938-829D3AC332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015" y="1636541"/>
            <a:ext cx="7958210" cy="1531505"/>
          </a:xfrm>
        </p:spPr>
        <p:txBody>
          <a:bodyPr anchor="b"/>
          <a:lstStyle>
            <a:lvl1pPr>
              <a:lnSpc>
                <a:spcPts val="4200"/>
              </a:lnSpc>
              <a:defRPr sz="4000">
                <a:latin typeface="Gill Sans Nova Light" panose="020B0302020104020203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3654089-CB0E-4321-8557-8E0B4ACD84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1027" y="3305908"/>
            <a:ext cx="3650486" cy="1174017"/>
          </a:xfr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spcAft>
                <a:spcPts val="0"/>
              </a:spcAft>
              <a:buNone/>
              <a:defRPr sz="1600"/>
            </a:lvl2pPr>
            <a:lvl3pPr marL="0" indent="0">
              <a:spcAft>
                <a:spcPts val="0"/>
              </a:spcAft>
              <a:buNone/>
              <a:defRPr sz="1600"/>
            </a:lvl3pPr>
            <a:lvl4pPr marL="0" indent="0">
              <a:spcAft>
                <a:spcPts val="0"/>
              </a:spcAft>
              <a:buNone/>
              <a:defRPr sz="1600"/>
            </a:lvl4pPr>
            <a:lvl5pPr marL="0" indent="0">
              <a:spcAft>
                <a:spcPts val="0"/>
              </a:spcAft>
              <a:buNone/>
              <a:defRPr sz="1600"/>
            </a:lvl5pPr>
          </a:lstStyle>
          <a:p>
            <a:pPr lvl="0"/>
            <a:r>
              <a:rPr lang="en-US" noProof="0"/>
              <a:t>Placeholder for subtitle, contact information, date etc.</a:t>
            </a:r>
          </a:p>
        </p:txBody>
      </p:sp>
    </p:spTree>
    <p:extLst>
      <p:ext uri="{BB962C8B-B14F-4D97-AF65-F5344CB8AC3E}">
        <p14:creationId xmlns:p14="http://schemas.microsoft.com/office/powerpoint/2010/main" val="28517680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0"/>
            <a:ext cx="4122737" cy="3203575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111007C9-750C-45A4-AB1B-CB6B97990CE5}" type="datetime6">
              <a:rPr lang="de-CH" smtClean="0"/>
              <a:t>November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05425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0"/>
            <a:ext cx="4122737" cy="3203575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65C08088-81A0-403B-BB04-AE6002DCC26A}" type="datetime6">
              <a:rPr lang="de-CH" smtClean="0"/>
              <a:t>November 23</a:t>
            </a:fld>
            <a:endParaRPr lang="de-DE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5BF7D55C-A184-4126-9EF6-44BC37A590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9446743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2621959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1"/>
            <a:ext cx="4122737" cy="2621958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93DD61F4-D9DA-406C-AF0A-CAC39F14C0F6}" type="datetime6">
              <a:rPr lang="de-CH" smtClean="0"/>
              <a:t>November 23</a:t>
            </a:fld>
            <a:endParaRPr lang="de-DE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5BF7D55C-A184-4126-9EF6-44BC37A590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86B5E8FE-8CBE-4759-BB01-C3BFECF4A0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Punchline</a:t>
            </a:r>
          </a:p>
        </p:txBody>
      </p:sp>
      <p:sp>
        <p:nvSpPr>
          <p:cNvPr id="14" name="Inhaltsplatzhalter 16">
            <a:extLst>
              <a:ext uri="{FF2B5EF4-FFF2-40B4-BE49-F238E27FC236}">
                <a16:creationId xmlns:a16="http://schemas.microsoft.com/office/drawing/2014/main" id="{8AD8B021-5AD6-44F8-B57D-010BB7B137AA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4434966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0000" tIns="144000" rIns="54000" bIns="5400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0"/>
            <a:ext cx="4122737" cy="3203575"/>
          </a:xfr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lIns="90000" tIns="144000" rIns="54000" bIns="54000" rtlCol="0">
            <a:normAutofit/>
          </a:bodyPr>
          <a:lstStyle>
            <a:lvl1pPr>
              <a:defRPr lang="de-DE"/>
            </a:lvl1pPr>
            <a:lvl2pPr>
              <a:defRPr lang="de-DE"/>
            </a:lvl2pPr>
            <a:lvl3pPr>
              <a:defRPr lang="de-DE"/>
            </a:lvl3pPr>
            <a:lvl4pPr>
              <a:defRPr lang="de-DE"/>
            </a:lvl4pPr>
            <a:lvl5pPr>
              <a:defRPr lang="en-GB" dirty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067FB25E-899A-44E8-9BBB-396B4C7606B9}" type="datetime6">
              <a:rPr lang="de-CH" smtClean="0"/>
              <a:t>November 23</a:t>
            </a:fld>
            <a:endParaRPr lang="de-DE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5BF7D55C-A184-4126-9EF6-44BC37A590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CDA3B4-D189-4EED-AC0A-770C12A9C9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2001" y="1158217"/>
            <a:ext cx="1438987" cy="222841"/>
          </a:xfrm>
          <a:solidFill>
            <a:schemeClr val="bg1"/>
          </a:solidFill>
        </p:spPr>
        <p:txBody>
          <a:bodyPr wrap="square" lIns="36000" tIns="0" rIns="36000" bIns="0" anchor="ctr">
            <a:spAutoFit/>
          </a:bodyPr>
          <a:lstStyle>
            <a:lvl1pPr>
              <a:defRPr b="1">
                <a:solidFill>
                  <a:srgbClr val="646464"/>
                </a:solidFill>
              </a:defRPr>
            </a:lvl1pPr>
          </a:lstStyle>
          <a:p>
            <a:pPr lvl="0"/>
            <a:r>
              <a:rPr lang="de-DE"/>
              <a:t>Titel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76584061-1DF3-4759-91E9-7033FFD952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12834" y="1158217"/>
            <a:ext cx="1438987" cy="222841"/>
          </a:xfrm>
          <a:solidFill>
            <a:schemeClr val="bg1"/>
          </a:solidFill>
        </p:spPr>
        <p:txBody>
          <a:bodyPr wrap="square" lIns="36000" tIns="0" rIns="36000" bIns="0" anchor="ctr">
            <a:spAutoFit/>
          </a:bodyPr>
          <a:lstStyle>
            <a:lvl1pPr>
              <a:defRPr b="1">
                <a:solidFill>
                  <a:srgbClr val="646464"/>
                </a:solidFill>
              </a:defRPr>
            </a:lvl1pPr>
          </a:lstStyle>
          <a:p>
            <a:pPr lvl="0"/>
            <a:r>
              <a:rPr lang="de-DE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4453987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2621959"/>
          </a:xfr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0000" tIns="144000" rIns="54000" bIns="5400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0"/>
            <a:ext cx="4122737" cy="2621958"/>
          </a:xfr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lIns="90000" tIns="144000" rIns="54000" bIns="54000" rtlCol="0">
            <a:normAutofit/>
          </a:bodyPr>
          <a:lstStyle>
            <a:lvl1pPr>
              <a:defRPr lang="de-DE"/>
            </a:lvl1pPr>
            <a:lvl2pPr>
              <a:defRPr lang="de-DE"/>
            </a:lvl2pPr>
            <a:lvl3pPr>
              <a:defRPr lang="de-DE"/>
            </a:lvl3pPr>
            <a:lvl4pPr>
              <a:defRPr lang="de-DE"/>
            </a:lvl4pPr>
            <a:lvl5pPr>
              <a:defRPr lang="en-GB" dirty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319C7E52-FAF0-4402-816C-D519DB6324B5}" type="datetime6">
              <a:rPr lang="de-CH" smtClean="0"/>
              <a:t>November 23</a:t>
            </a:fld>
            <a:endParaRPr lang="de-DE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5BF7D55C-A184-4126-9EF6-44BC37A590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CDA3B4-D189-4EED-AC0A-770C12A9C9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2001" y="1158217"/>
            <a:ext cx="1438987" cy="222841"/>
          </a:xfrm>
          <a:solidFill>
            <a:schemeClr val="bg1"/>
          </a:solidFill>
        </p:spPr>
        <p:txBody>
          <a:bodyPr wrap="square" lIns="36000" tIns="0" rIns="36000" bIns="0" anchor="ctr">
            <a:spAutoFit/>
          </a:bodyPr>
          <a:lstStyle>
            <a:lvl1pPr>
              <a:defRPr b="1">
                <a:solidFill>
                  <a:srgbClr val="646464"/>
                </a:solidFill>
              </a:defRPr>
            </a:lvl1pPr>
          </a:lstStyle>
          <a:p>
            <a:pPr lvl="0"/>
            <a:r>
              <a:rPr lang="de-DE"/>
              <a:t>Titel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76584061-1DF3-4759-91E9-7033FFD952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12834" y="1158217"/>
            <a:ext cx="1438987" cy="222841"/>
          </a:xfrm>
          <a:solidFill>
            <a:schemeClr val="bg1"/>
          </a:solidFill>
        </p:spPr>
        <p:txBody>
          <a:bodyPr wrap="square" lIns="36000" tIns="0" rIns="36000" bIns="0" anchor="ctr">
            <a:spAutoFit/>
          </a:bodyPr>
          <a:lstStyle>
            <a:lvl1pPr>
              <a:defRPr b="1">
                <a:solidFill>
                  <a:srgbClr val="646464"/>
                </a:solidFill>
              </a:defRPr>
            </a:lvl1pPr>
          </a:lstStyle>
          <a:p>
            <a:pPr lvl="0"/>
            <a:r>
              <a:rPr lang="de-DE"/>
              <a:t>Titel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3A5845F3-A444-47AE-917F-673A907B90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Punchline</a:t>
            </a:r>
          </a:p>
        </p:txBody>
      </p:sp>
      <p:sp>
        <p:nvSpPr>
          <p:cNvPr id="15" name="Inhaltsplatzhalter 16">
            <a:extLst>
              <a:ext uri="{FF2B5EF4-FFF2-40B4-BE49-F238E27FC236}">
                <a16:creationId xmlns:a16="http://schemas.microsoft.com/office/drawing/2014/main" id="{BF83157E-6215-44CE-AB8B-6FE4750FAB3F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2893874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B4469C7-7D0E-49E1-8F7D-6E7D287176ED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D794AC-1E69-4E4D-9E6D-26F34827B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547A73-96B4-4B49-A320-28015EA72F8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8774" y="1276350"/>
            <a:ext cx="4213225" cy="320357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3F6FA5C-D25E-4346-815E-CF6B33F724A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1276350"/>
            <a:ext cx="4213225" cy="320357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(</a:t>
            </a:r>
            <a:r>
              <a:rPr lang="en-US" noProof="0"/>
              <a:t>click</a:t>
            </a:r>
            <a:r>
              <a:rPr lang="en-US"/>
              <a:t> to add a picture)</a:t>
            </a:r>
          </a:p>
        </p:txBody>
      </p:sp>
      <p:pic>
        <p:nvPicPr>
          <p:cNvPr id="1196911565" name="Rectangle 13" descr="{&quot;templafy&quot;:{&quot;id&quot;:&quot;f50b95fb-c618-403e-850f-5307521ebd44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DC8F7FAF-A697-46A0-8412-25957725C8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82F54D9E-7D1F-444A-82BF-BBF0595DA982}" type="datetime6">
              <a:rPr lang="de-CH" smtClean="0"/>
              <a:t>November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796761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B4469C7-7D0E-49E1-8F7D-6E7D287176ED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D794AC-1E69-4E4D-9E6D-26F34827B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547A73-96B4-4B49-A320-28015EA72F8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8774" y="1276350"/>
            <a:ext cx="4213225" cy="320357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3F6FA5C-D25E-4346-815E-CF6B33F724A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1276350"/>
            <a:ext cx="4213225" cy="320357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(</a:t>
            </a:r>
            <a:r>
              <a:rPr lang="en-US" noProof="0"/>
              <a:t>click</a:t>
            </a:r>
            <a:r>
              <a:rPr lang="en-US"/>
              <a:t> to add a picture)</a:t>
            </a:r>
          </a:p>
        </p:txBody>
      </p:sp>
      <p:pic>
        <p:nvPicPr>
          <p:cNvPr id="1196911565" name="Rectangle 13" descr="{&quot;templafy&quot;:{&quot;id&quot;:&quot;f50b95fb-c618-403e-850f-5307521ebd44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DC8F7FAF-A697-46A0-8412-25957725C8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09B361C5-E514-4A70-858B-8132FB5C91DF}" type="datetime6">
              <a:rPr lang="de-CH" smtClean="0"/>
              <a:t>November 23</a:t>
            </a:fld>
            <a:endParaRPr lang="de-DE"/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971DEB7D-6D6C-4939-95C1-419F89E998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17636012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B4469C7-7D0E-49E1-8F7D-6E7D287176ED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D794AC-1E69-4E4D-9E6D-26F34827B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547A73-96B4-4B49-A320-28015EA72F8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8774" y="1276350"/>
            <a:ext cx="4213225" cy="260505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3F6FA5C-D25E-4346-815E-CF6B33F724A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1276351"/>
            <a:ext cx="4213225" cy="260505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(</a:t>
            </a:r>
            <a:r>
              <a:rPr lang="en-US" noProof="0"/>
              <a:t>click</a:t>
            </a:r>
            <a:r>
              <a:rPr lang="en-US"/>
              <a:t> to add a picture)</a:t>
            </a:r>
          </a:p>
        </p:txBody>
      </p:sp>
      <p:pic>
        <p:nvPicPr>
          <p:cNvPr id="1196911565" name="Rectangle 13" descr="{&quot;templafy&quot;:{&quot;id&quot;:&quot;f50b95fb-c618-403e-850f-5307521ebd44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DC8F7FAF-A697-46A0-8412-25957725C8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218F951F-E348-4CE7-83CE-A0ED851B26A2}" type="datetime6">
              <a:rPr lang="de-CH" smtClean="0"/>
              <a:t>November 23</a:t>
            </a:fld>
            <a:endParaRPr lang="de-DE"/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971DEB7D-6D6C-4939-95C1-419F89E998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836CA3C-1FB4-448E-8E4F-D95C186A1F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Punchline</a:t>
            </a:r>
          </a:p>
        </p:txBody>
      </p:sp>
      <p:sp>
        <p:nvSpPr>
          <p:cNvPr id="15" name="Inhaltsplatzhalter 16">
            <a:extLst>
              <a:ext uri="{FF2B5EF4-FFF2-40B4-BE49-F238E27FC236}">
                <a16:creationId xmlns:a16="http://schemas.microsoft.com/office/drawing/2014/main" id="{6AAFEC9F-D413-4D3E-8DEC-EF47020CE4D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5664220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Bilder mit Le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FEC9FF2-0829-44EA-809D-F5C42173624F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D794AC-1E69-4E4D-9E6D-26F34827B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547A73-96B4-4B49-A320-28015EA72F8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571999" cy="3887599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3F6FA5C-D25E-4346-815E-CF6B33F724A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0"/>
            <a:ext cx="4572000" cy="3887599"/>
          </a:xfrm>
          <a:pattFill prst="wdDnDiag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19FAD45-6EEE-4522-8CA6-5189DCDD487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9317" y="3989388"/>
            <a:ext cx="4382196" cy="49053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/>
            </a:lvl1pPr>
            <a:lvl2pPr marL="0" indent="0">
              <a:buNone/>
              <a:defRPr sz="1400"/>
            </a:lvl2pPr>
            <a:lvl3pPr marL="0" indent="0">
              <a:buNone/>
              <a:defRPr sz="1400"/>
            </a:lvl3pPr>
            <a:lvl4pPr marL="0" indent="0">
              <a:buNone/>
              <a:defRPr sz="1400"/>
            </a:lvl4pPr>
            <a:lvl5pPr marL="0" indent="0"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en-US" noProof="0"/>
              <a:t>Placeholder for Caption Tit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47F9A9E-BA08-4C8F-96E1-0E7C7D71B39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62486" y="3989387"/>
            <a:ext cx="4382195" cy="49053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/>
            </a:lvl1pPr>
            <a:lvl2pPr marL="0" indent="0">
              <a:buNone/>
              <a:defRPr sz="1400"/>
            </a:lvl2pPr>
            <a:lvl3pPr marL="0" indent="0">
              <a:buNone/>
              <a:defRPr sz="1400"/>
            </a:lvl3pPr>
            <a:lvl4pPr marL="0" indent="0">
              <a:buNone/>
              <a:defRPr sz="1400"/>
            </a:lvl4pPr>
            <a:lvl5pPr marL="0" indent="0"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en-US" noProof="0"/>
              <a:t>Placeholder for Caption Title</a:t>
            </a:r>
          </a:p>
        </p:txBody>
      </p:sp>
      <p:pic>
        <p:nvPicPr>
          <p:cNvPr id="1613922474" name="Rectangle 14" descr="{&quot;templafy&quot;:{&quot;id&quot;:&quot;a3bfa591-4d50-4d64-bc9e-6e4385707fec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C2D3E358-7013-49C0-B535-4D724985DD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486C75F3-C0D1-4ABB-8738-25AB5753A893}" type="datetime6">
              <a:rPr lang="de-CH" smtClean="0"/>
              <a:t>November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812013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D8E670C-89F1-48DF-ADBA-904A263650AF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AFF4CC-30A2-4B7B-BA9D-1A66D4764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D39D30-BB72-44AA-B142-468FFB51D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pic>
        <p:nvPicPr>
          <p:cNvPr id="1869865043" name="Rectangle 9" descr="{&quot;templafy&quot;:{&quot;id&quot;:&quot;122fbdb8-b590-4d7e-bb6a-dc7fb210d96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1" name="Rectangle 10" descr="{&quot;templafy&quot;:{&quot;id&quot;:&quot;0feba306-3b76-4b2f-8181-6b287829826f&quot;}}">
            <a:extLst>
              <a:ext uri="{FF2B5EF4-FFF2-40B4-BE49-F238E27FC236}">
                <a16:creationId xmlns:a16="http://schemas.microsoft.com/office/drawing/2014/main" id="{3ED3541B-0C4B-4AD3-A0FB-BB276047ADCE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B1B99F8-5DB1-4DEC-9F08-262AFABCAE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D796397B-38EB-490B-98F7-EB0799988FF4}" type="datetime6">
              <a:rPr lang="de-CH" smtClean="0"/>
              <a:t>November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14031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69B6FC2A-29C4-4742-B32D-604659C0CB22}"/>
              </a:ext>
            </a:extLst>
          </p:cNvPr>
          <p:cNvSpPr txBox="1"/>
          <p:nvPr/>
        </p:nvSpPr>
        <p:spPr>
          <a:xfrm>
            <a:off x="828000" y="4613375"/>
            <a:ext cx="199756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000" noProof="0">
                <a:solidFill>
                  <a:schemeClr val="tx1"/>
                </a:solidFill>
              </a:rPr>
              <a:t>From insight to impact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CACC6D5-D1D4-442A-84CB-4AA5E5B9ECD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965200" y="0"/>
            <a:ext cx="3178800" cy="5143500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(click to insert a picture)</a:t>
            </a:r>
          </a:p>
        </p:txBody>
      </p:sp>
      <p:sp>
        <p:nvSpPr>
          <p:cNvPr id="13" name="Titel 2">
            <a:extLst>
              <a:ext uri="{FF2B5EF4-FFF2-40B4-BE49-F238E27FC236}">
                <a16:creationId xmlns:a16="http://schemas.microsoft.com/office/drawing/2014/main" id="{A1CDFD74-691B-4614-A492-077E7072F1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7999" y="1204714"/>
            <a:ext cx="4810801" cy="1686263"/>
          </a:xfrm>
        </p:spPr>
        <p:txBody>
          <a:bodyPr anchor="b"/>
          <a:lstStyle>
            <a:lvl1pPr>
              <a:defRPr sz="4000" b="0"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Title placeholder</a:t>
            </a:r>
          </a:p>
        </p:txBody>
      </p:sp>
      <p:sp>
        <p:nvSpPr>
          <p:cNvPr id="15" name="Inhaltsplatzhalter 5">
            <a:extLst>
              <a:ext uri="{FF2B5EF4-FFF2-40B4-BE49-F238E27FC236}">
                <a16:creationId xmlns:a16="http://schemas.microsoft.com/office/drawing/2014/main" id="{AE1AF548-C38C-443B-8063-F7E88D88692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27999" y="3123866"/>
            <a:ext cx="4810801" cy="1341437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pPr lvl="0"/>
            <a:r>
              <a:rPr lang="en-US" noProof="0"/>
              <a:t>Placeholder for subtitle, contact information, date etc.</a:t>
            </a:r>
          </a:p>
        </p:txBody>
      </p:sp>
      <p:pic>
        <p:nvPicPr>
          <p:cNvPr id="7" name="Rectangle 2" descr="{&quot;templafy&quot;:{&quot;id&quot;:&quot;b9ddadaa-0495-446c-a774-3deec88f84b2&quot;}}">
            <a:extLst>
              <a:ext uri="{FF2B5EF4-FFF2-40B4-BE49-F238E27FC236}">
                <a16:creationId xmlns:a16="http://schemas.microsoft.com/office/drawing/2014/main" id="{9E48B927-DD41-4992-B1BC-98281B1B6B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173" y="313025"/>
            <a:ext cx="2221200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096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D8E670C-89F1-48DF-ADBA-904A263650AF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AFF4CC-30A2-4B7B-BA9D-1A66D4764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D39D30-BB72-44AA-B142-468FFB51D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pic>
        <p:nvPicPr>
          <p:cNvPr id="1869865043" name="Rectangle 9" descr="{&quot;templafy&quot;:{&quot;id&quot;:&quot;122fbdb8-b590-4d7e-bb6a-dc7fb210d96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1" name="Rectangle 10" descr="{&quot;templafy&quot;:{&quot;id&quot;:&quot;0feba306-3b76-4b2f-8181-6b287829826f&quot;}}">
            <a:extLst>
              <a:ext uri="{FF2B5EF4-FFF2-40B4-BE49-F238E27FC236}">
                <a16:creationId xmlns:a16="http://schemas.microsoft.com/office/drawing/2014/main" id="{3ED3541B-0C4B-4AD3-A0FB-BB276047ADCE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B1B99F8-5DB1-4DEC-9F08-262AFABCAE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B78E12DF-9BBF-4E12-BDDF-B9E8E5B05C6B}" type="datetime6">
              <a:rPr lang="de-CH" smtClean="0"/>
              <a:t>November 23</a:t>
            </a:fld>
            <a:endParaRPr lang="de-DE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6318D65C-D216-4FD0-81E1-BE6FBAB1CA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404961716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D8E670C-89F1-48DF-ADBA-904A263650AF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AFF4CC-30A2-4B7B-BA9D-1A66D4764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D39D30-BB72-44AA-B142-468FFB51D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pic>
        <p:nvPicPr>
          <p:cNvPr id="1869865043" name="Rectangle 9" descr="{&quot;templafy&quot;:{&quot;id&quot;:&quot;122fbdb8-b590-4d7e-bb6a-dc7fb210d96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1" name="Rectangle 10" descr="{&quot;templafy&quot;:{&quot;id&quot;:&quot;0feba306-3b76-4b2f-8181-6b287829826f&quot;}}">
            <a:extLst>
              <a:ext uri="{FF2B5EF4-FFF2-40B4-BE49-F238E27FC236}">
                <a16:creationId xmlns:a16="http://schemas.microsoft.com/office/drawing/2014/main" id="{3ED3541B-0C4B-4AD3-A0FB-BB276047ADCE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B1B99F8-5DB1-4DEC-9F08-262AFABCAE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B79F0516-DC2F-4A1B-9AE7-52332A8498FC}" type="datetime6">
              <a:rPr lang="de-CH" smtClean="0"/>
              <a:t>November 23</a:t>
            </a:fld>
            <a:endParaRPr lang="de-DE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6318D65C-D216-4FD0-81E1-BE6FBAB1CA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6A048957-9563-4CBB-9658-4EEC37F56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Punchline</a:t>
            </a:r>
          </a:p>
        </p:txBody>
      </p:sp>
      <p:sp>
        <p:nvSpPr>
          <p:cNvPr id="13" name="Inhaltsplatzhalter 16">
            <a:extLst>
              <a:ext uri="{FF2B5EF4-FFF2-40B4-BE49-F238E27FC236}">
                <a16:creationId xmlns:a16="http://schemas.microsoft.com/office/drawing/2014/main" id="{EE6EFAB4-A25E-40AE-A96E-9D0D5472F14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7999432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ld Voll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C11C186-C392-4982-A2C0-7824EE98FA4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</p:spTree>
    <p:extLst>
      <p:ext uri="{BB962C8B-B14F-4D97-AF65-F5344CB8AC3E}">
        <p14:creationId xmlns:p14="http://schemas.microsoft.com/office/powerpoint/2010/main" val="34893341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itat schwarze Schrif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95F94A4-74DF-4FC6-AF8D-8F883B56E7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8000" y="735013"/>
            <a:ext cx="7957225" cy="2525712"/>
          </a:xfrm>
        </p:spPr>
        <p:txBody>
          <a:bodyPr anchor="b">
            <a:normAutofit/>
          </a:bodyPr>
          <a:lstStyle>
            <a:lvl1pPr marL="0">
              <a:lnSpc>
                <a:spcPct val="110000"/>
              </a:lnSpc>
              <a:buFontTx/>
              <a:buNone/>
              <a:defRPr sz="50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  <a:lvl2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2pPr>
            <a:lvl3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3pPr>
            <a:lvl4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4pPr>
            <a:lvl5pPr marL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5pPr>
          </a:lstStyle>
          <a:p>
            <a:pPr lvl="0"/>
            <a:r>
              <a:rPr lang="en-US" noProof="0"/>
              <a:t>Placeholder for a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D8D12DF-4F43-44AF-B5F9-5E632D8CD5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7999" y="3548063"/>
            <a:ext cx="5741765" cy="931862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/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Font typeface="Arial" panose="020B0604020202020204" pitchFamily="34" charset="0"/>
              <a:buNone/>
              <a:defRPr sz="1800"/>
            </a:lvl5pPr>
          </a:lstStyle>
          <a:p>
            <a:pPr lvl="0"/>
            <a:r>
              <a:rPr lang="en-US" noProof="0"/>
              <a:t>Placeholder for a sub-title </a:t>
            </a:r>
          </a:p>
        </p:txBody>
      </p:sp>
    </p:spTree>
    <p:extLst>
      <p:ext uri="{BB962C8B-B14F-4D97-AF65-F5344CB8AC3E}">
        <p14:creationId xmlns:p14="http://schemas.microsoft.com/office/powerpoint/2010/main" val="11041204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itat weisse Schrif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48C5A9E-D3FC-4F7A-895D-E35078A993C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8000" y="735013"/>
            <a:ext cx="7957225" cy="2525712"/>
          </a:xfrm>
        </p:spPr>
        <p:txBody>
          <a:bodyPr anchor="b">
            <a:normAutofit/>
          </a:bodyPr>
          <a:lstStyle>
            <a:lvl1pPr marL="0">
              <a:lnSpc>
                <a:spcPct val="110000"/>
              </a:lnSpc>
              <a:buFontTx/>
              <a:buNone/>
              <a:defRPr sz="50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  <a:lvl2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2pPr>
            <a:lvl3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3pPr>
            <a:lvl4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4pPr>
            <a:lvl5pPr marL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5pPr>
          </a:lstStyle>
          <a:p>
            <a:pPr lvl="0"/>
            <a:r>
              <a:rPr lang="en-US" noProof="0"/>
              <a:t>Placeholder for a Title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E333CEB4-EDBA-436D-9394-E4DEFD39C82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7999" y="3548063"/>
            <a:ext cx="5741765" cy="931862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/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Font typeface="Arial" panose="020B0604020202020204" pitchFamily="34" charset="0"/>
              <a:buNone/>
              <a:defRPr sz="1800"/>
            </a:lvl5pPr>
          </a:lstStyle>
          <a:p>
            <a:pPr lvl="0"/>
            <a:r>
              <a:rPr lang="en-US" noProof="0"/>
              <a:t>Placeholder for a sub-title </a:t>
            </a:r>
          </a:p>
        </p:txBody>
      </p:sp>
    </p:spTree>
    <p:extLst>
      <p:ext uri="{BB962C8B-B14F-4D97-AF65-F5344CB8AC3E}">
        <p14:creationId xmlns:p14="http://schemas.microsoft.com/office/powerpoint/2010/main" val="381885183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0D1F60-1436-43F1-AAD9-4C24152996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000" y="735013"/>
            <a:ext cx="5148000" cy="372867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7900">
                <a:solidFill>
                  <a:schemeClr val="bg2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E199CDC-B569-4BBB-9A2F-680DDE6121E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624638" y="735013"/>
            <a:ext cx="2160587" cy="2160587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(</a:t>
            </a:r>
            <a:r>
              <a:rPr lang="de-DE" err="1"/>
              <a:t>click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content</a:t>
            </a:r>
            <a:r>
              <a:rPr lang="de-DE"/>
              <a:t> type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wish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insert</a:t>
            </a:r>
            <a:r>
              <a:rPr lang="de-DE"/>
              <a:t>, </a:t>
            </a:r>
            <a:r>
              <a:rPr lang="de-DE" err="1"/>
              <a:t>here</a:t>
            </a:r>
            <a:r>
              <a:rPr lang="de-DE"/>
              <a:t>: </a:t>
            </a:r>
            <a:r>
              <a:rPr lang="de-DE" err="1"/>
              <a:t>icons</a:t>
            </a:r>
            <a:r>
              <a:rPr lang="de-DE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85585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56F08FA-3E26-4DE6-8960-EF5638923C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000" y="735013"/>
            <a:ext cx="5148000" cy="372867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79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6" name="Inhaltsplatzhalter 3">
            <a:extLst>
              <a:ext uri="{FF2B5EF4-FFF2-40B4-BE49-F238E27FC236}">
                <a16:creationId xmlns:a16="http://schemas.microsoft.com/office/drawing/2014/main" id="{99DA47FD-9D2D-476D-A2A9-1C05F2E33B6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624638" y="735013"/>
            <a:ext cx="2160587" cy="2160587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(</a:t>
            </a:r>
            <a:r>
              <a:rPr lang="de-DE" err="1"/>
              <a:t>click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content</a:t>
            </a:r>
            <a:r>
              <a:rPr lang="de-DE"/>
              <a:t> type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wish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insert</a:t>
            </a:r>
            <a:r>
              <a:rPr lang="de-DE"/>
              <a:t>, </a:t>
            </a:r>
            <a:r>
              <a:rPr lang="de-DE" err="1"/>
              <a:t>here</a:t>
            </a:r>
            <a:r>
              <a:rPr lang="de-DE"/>
              <a:t>: </a:t>
            </a:r>
            <a:r>
              <a:rPr lang="de-DE" err="1"/>
              <a:t>icons</a:t>
            </a:r>
            <a:r>
              <a:rPr lang="de-DE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024940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AEF01-8430-4429-BC41-FFA4FCB67C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000" y="735013"/>
            <a:ext cx="5148000" cy="372867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79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3" name="Inhaltsplatzhalter 3">
            <a:extLst>
              <a:ext uri="{FF2B5EF4-FFF2-40B4-BE49-F238E27FC236}">
                <a16:creationId xmlns:a16="http://schemas.microsoft.com/office/drawing/2014/main" id="{60883619-1961-463F-AD3D-4B226F4EB13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624638" y="735013"/>
            <a:ext cx="2160587" cy="2160587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(</a:t>
            </a:r>
            <a:r>
              <a:rPr lang="de-DE" err="1"/>
              <a:t>click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content</a:t>
            </a:r>
            <a:r>
              <a:rPr lang="de-DE"/>
              <a:t> type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wish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insert</a:t>
            </a:r>
            <a:r>
              <a:rPr lang="de-DE"/>
              <a:t>, </a:t>
            </a:r>
            <a:r>
              <a:rPr lang="de-DE" err="1"/>
              <a:t>here</a:t>
            </a:r>
            <a:r>
              <a:rPr lang="de-DE"/>
              <a:t>: </a:t>
            </a:r>
            <a:r>
              <a:rPr lang="de-DE" err="1"/>
              <a:t>icons</a:t>
            </a:r>
            <a:r>
              <a:rPr lang="de-DE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57002187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0981B0-6792-4738-ACB8-050730738F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000" y="1044000"/>
            <a:ext cx="7957225" cy="685801"/>
          </a:xfrm>
        </p:spPr>
        <p:txBody>
          <a:bodyPr/>
          <a:lstStyle>
            <a:lvl1pPr>
              <a:lnSpc>
                <a:spcPts val="5200"/>
              </a:lnSpc>
              <a:defRPr sz="5000">
                <a:latin typeface="Gill Sans Nova Light" panose="020B0302020104020203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87D0F6F-53A1-4152-9807-5EC1BBC8849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8000" y="2626419"/>
            <a:ext cx="1908000" cy="862219"/>
          </a:xfrm>
        </p:spPr>
        <p:txBody>
          <a:bodyPr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824BC02-7B0E-4C56-B49A-5A28F9E62B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8000" y="2090947"/>
            <a:ext cx="1908000" cy="504411"/>
          </a:xfrm>
        </p:spPr>
        <p:txBody>
          <a:bodyPr anchor="b"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DF580D6-76FA-48E5-A6F9-C7D7F9ECA0C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86816" y="2626419"/>
            <a:ext cx="1908000" cy="862219"/>
          </a:xfrm>
        </p:spPr>
        <p:txBody>
          <a:bodyPr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6CE2E2F-1BA4-4018-8B3C-5192B4A35E2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886816" y="2090947"/>
            <a:ext cx="1908000" cy="504411"/>
          </a:xfrm>
        </p:spPr>
        <p:txBody>
          <a:bodyPr anchor="b"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780CD93-461B-4895-AFE1-B11CB717CAC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45933" y="2626419"/>
            <a:ext cx="1908000" cy="862219"/>
          </a:xfrm>
        </p:spPr>
        <p:txBody>
          <a:bodyPr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7670DE1A-52CE-4331-B7C3-9D35588A292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45933" y="2090947"/>
            <a:ext cx="1908000" cy="504411"/>
          </a:xfrm>
        </p:spPr>
        <p:txBody>
          <a:bodyPr anchor="b"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Rectangle 2" descr="{&quot;templafy&quot;:{&quot;id&quot;:&quot;b1422e0e-bb0a-41ba-ad6b-c8c9f213ea93&quot;}}">
            <a:extLst>
              <a:ext uri="{FF2B5EF4-FFF2-40B4-BE49-F238E27FC236}">
                <a16:creationId xmlns:a16="http://schemas.microsoft.com/office/drawing/2014/main" id="{36F02173-B0F5-4193-B6FF-8607454762B4}"/>
              </a:ext>
            </a:extLst>
          </p:cNvPr>
          <p:cNvSpPr/>
          <p:nvPr/>
        </p:nvSpPr>
        <p:spPr>
          <a:xfrm>
            <a:off x="4945930" y="3715567"/>
            <a:ext cx="2291576" cy="991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l">
              <a:lnSpc>
                <a:spcPts val="1200"/>
              </a:lnSpc>
            </a:pPr>
            <a:r>
              <a:rPr lang="en-GB" sz="1000">
                <a:solidFill>
                  <a:schemeClr val="tx1"/>
                </a:solidFill>
              </a:rPr>
              <a:t>University of St.Gallen
School of Computer Science (SCS-HSG)</a:t>
            </a:r>
          </a:p>
          <a:p>
            <a:pPr algn="l">
              <a:lnSpc>
                <a:spcPts val="1200"/>
              </a:lnSpc>
            </a:pPr>
            <a:r>
              <a:rPr lang="en-GB" sz="1000" err="1">
                <a:solidFill>
                  <a:schemeClr val="tx1"/>
                </a:solidFill>
              </a:rPr>
              <a:t>Torstrasse</a:t>
            </a:r>
            <a:r>
              <a:rPr lang="en-GB" sz="1000">
                <a:solidFill>
                  <a:schemeClr val="tx1"/>
                </a:solidFill>
              </a:rPr>
              <a:t> 25</a:t>
            </a:r>
          </a:p>
          <a:p>
            <a:pPr algn="l">
              <a:lnSpc>
                <a:spcPts val="1200"/>
              </a:lnSpc>
            </a:pPr>
            <a:r>
              <a:rPr lang="en-GB" sz="1000">
                <a:solidFill>
                  <a:schemeClr val="tx1"/>
                </a:solidFill>
              </a:rPr>
              <a:t>9000 St.Gallen 
scs.unisg.ch</a:t>
            </a:r>
          </a:p>
        </p:txBody>
      </p:sp>
      <p:pic>
        <p:nvPicPr>
          <p:cNvPr id="16" name="Rectangle 2" descr="{&quot;templafy&quot;:{&quot;id&quot;:&quot;b9ddadaa-0495-446c-a774-3deec88f84b2&quot;}}">
            <a:extLst>
              <a:ext uri="{FF2B5EF4-FFF2-40B4-BE49-F238E27FC236}">
                <a16:creationId xmlns:a16="http://schemas.microsoft.com/office/drawing/2014/main" id="{A7C8AF82-B874-4858-A482-57343B3E61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816" y="4246055"/>
            <a:ext cx="2221200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70949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One content, Subtitle w/o punch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2" hasCustomPrompt="1"/>
          </p:nvPr>
        </p:nvSpPr>
        <p:spPr>
          <a:xfrm>
            <a:off x="359569" y="844153"/>
            <a:ext cx="8640366" cy="40498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DC11C2E-AD36-4B73-B462-AAD5FCEA1B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569" y="385762"/>
            <a:ext cx="8640366" cy="28897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ction Title</a:t>
            </a: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9A4A3C0D-6744-447E-BEEE-FAE26C49E38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23813"/>
            <a:ext cx="8640366" cy="361950"/>
          </a:xfrm>
        </p:spPr>
        <p:txBody>
          <a:bodyPr anchor="b">
            <a:normAutofit/>
          </a:bodyPr>
          <a:lstStyle>
            <a:lvl1pPr marL="0" indent="0">
              <a:buNone/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FF1A4FC-02B0-44A7-816B-6DFED6983992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cs typeface="Arial" panose="020B0604020202020204" pitchFamily="34" charset="0"/>
              </a:rPr>
              <a:t>© Sep-21, SCS-HSG</a:t>
            </a:r>
            <a:endParaRPr lang="en-US"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8ED31CC-9992-4EF2-9FBA-7E8136EA5BE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D77B3A3-157C-467D-BC92-7A7CB5728D6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01829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reihandform: Form 25">
            <a:extLst>
              <a:ext uri="{FF2B5EF4-FFF2-40B4-BE49-F238E27FC236}">
                <a16:creationId xmlns:a16="http://schemas.microsoft.com/office/drawing/2014/main" id="{50C66745-AD63-46D3-91AF-72BE6979D8D8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custGeom>
            <a:avLst/>
            <a:gdLst>
              <a:gd name="connsiteX0" fmla="*/ 0 w 9144000"/>
              <a:gd name="connsiteY0" fmla="*/ 0 h 5143500"/>
              <a:gd name="connsiteX1" fmla="*/ 9144000 w 9144000"/>
              <a:gd name="connsiteY1" fmla="*/ 0 h 5143500"/>
              <a:gd name="connsiteX2" fmla="*/ 9144000 w 9144000"/>
              <a:gd name="connsiteY2" fmla="*/ 453906 h 5143500"/>
              <a:gd name="connsiteX3" fmla="*/ 5748398 w 9144000"/>
              <a:gd name="connsiteY3" fmla="*/ 1289643 h 5143500"/>
              <a:gd name="connsiteX4" fmla="*/ 6249560 w 9144000"/>
              <a:gd name="connsiteY4" fmla="*/ 3963138 h 5143500"/>
              <a:gd name="connsiteX5" fmla="*/ 9144000 w 9144000"/>
              <a:gd name="connsiteY5" fmla="*/ 4239640 h 5143500"/>
              <a:gd name="connsiteX6" fmla="*/ 9144000 w 9144000"/>
              <a:gd name="connsiteY6" fmla="*/ 5143500 h 5143500"/>
              <a:gd name="connsiteX7" fmla="*/ 0 w 9144000"/>
              <a:gd name="connsiteY7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5143500">
                <a:moveTo>
                  <a:pt x="0" y="0"/>
                </a:moveTo>
                <a:lnTo>
                  <a:pt x="9144000" y="0"/>
                </a:lnTo>
                <a:lnTo>
                  <a:pt x="9144000" y="453906"/>
                </a:lnTo>
                <a:lnTo>
                  <a:pt x="5748398" y="1289643"/>
                </a:lnTo>
                <a:lnTo>
                  <a:pt x="6249560" y="3963138"/>
                </a:lnTo>
                <a:lnTo>
                  <a:pt x="9144000" y="4239640"/>
                </a:lnTo>
                <a:lnTo>
                  <a:pt x="9144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FAD15927-0B76-484F-B9F5-0F2A9088596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5730729" y="1591797"/>
            <a:ext cx="2481287" cy="2755631"/>
          </a:xfrm>
          <a:custGeom>
            <a:avLst/>
            <a:gdLst>
              <a:gd name="connsiteX0" fmla="*/ 0 w 2481287"/>
              <a:gd name="connsiteY0" fmla="*/ 0 h 2755631"/>
              <a:gd name="connsiteX1" fmla="*/ 87497 w 2481287"/>
              <a:gd name="connsiteY1" fmla="*/ 0 h 2755631"/>
              <a:gd name="connsiteX2" fmla="*/ 532018 w 2481287"/>
              <a:gd name="connsiteY2" fmla="*/ 2371341 h 2755631"/>
              <a:gd name="connsiteX3" fmla="*/ 2481287 w 2481287"/>
              <a:gd name="connsiteY3" fmla="*/ 2557552 h 2755631"/>
              <a:gd name="connsiteX4" fmla="*/ 2481287 w 2481287"/>
              <a:gd name="connsiteY4" fmla="*/ 2755631 h 2755631"/>
              <a:gd name="connsiteX5" fmla="*/ 0 w 2481287"/>
              <a:gd name="connsiteY5" fmla="*/ 2755631 h 2755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81287" h="2755631">
                <a:moveTo>
                  <a:pt x="0" y="0"/>
                </a:moveTo>
                <a:lnTo>
                  <a:pt x="87497" y="0"/>
                </a:lnTo>
                <a:lnTo>
                  <a:pt x="532018" y="2371341"/>
                </a:lnTo>
                <a:lnTo>
                  <a:pt x="2481287" y="2557552"/>
                </a:lnTo>
                <a:lnTo>
                  <a:pt x="2481287" y="2755631"/>
                </a:lnTo>
                <a:lnTo>
                  <a:pt x="0" y="2755631"/>
                </a:lnTo>
                <a:close/>
              </a:path>
            </a:pathLst>
          </a:custGeom>
        </p:spPr>
      </p:pic>
      <p:sp>
        <p:nvSpPr>
          <p:cNvPr id="29" name="Titel 2">
            <a:extLst>
              <a:ext uri="{FF2B5EF4-FFF2-40B4-BE49-F238E27FC236}">
                <a16:creationId xmlns:a16="http://schemas.microsoft.com/office/drawing/2014/main" id="{07DB7A25-2D45-4530-B352-72872D010C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000" y="1204714"/>
            <a:ext cx="4518700" cy="1686263"/>
          </a:xfrm>
        </p:spPr>
        <p:txBody>
          <a:bodyPr anchor="b"/>
          <a:lstStyle>
            <a:lvl1pPr>
              <a:defRPr sz="4000" b="0"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Title placeholder</a:t>
            </a:r>
          </a:p>
        </p:txBody>
      </p:sp>
      <p:sp>
        <p:nvSpPr>
          <p:cNvPr id="30" name="Inhaltsplatzhalter 5">
            <a:extLst>
              <a:ext uri="{FF2B5EF4-FFF2-40B4-BE49-F238E27FC236}">
                <a16:creationId xmlns:a16="http://schemas.microsoft.com/office/drawing/2014/main" id="{066A8D03-CD39-4F89-8162-A97B7CF5D95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27999" y="3123866"/>
            <a:ext cx="4518700" cy="1341437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pPr lvl="0"/>
            <a:r>
              <a:rPr lang="en-US" noProof="0"/>
              <a:t>Placeholder for subtitle, contact information, date etc.</a:t>
            </a:r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CE66955E-0BC6-4E77-9B70-B03B43501DB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772152" y="428626"/>
            <a:ext cx="3386845" cy="3822698"/>
          </a:xfrm>
          <a:custGeom>
            <a:avLst/>
            <a:gdLst>
              <a:gd name="connsiteX0" fmla="*/ 3386845 w 3386845"/>
              <a:gd name="connsiteY0" fmla="*/ 0 h 3822698"/>
              <a:gd name="connsiteX1" fmla="*/ 3386845 w 3386845"/>
              <a:gd name="connsiteY1" fmla="*/ 3822698 h 3822698"/>
              <a:gd name="connsiteX2" fmla="*/ 3167140 w 3386845"/>
              <a:gd name="connsiteY2" fmla="*/ 3822698 h 3822698"/>
              <a:gd name="connsiteX3" fmla="*/ 467964 w 3386845"/>
              <a:gd name="connsiteY3" fmla="*/ 3582358 h 3822698"/>
              <a:gd name="connsiteX4" fmla="*/ 0 w 3386845"/>
              <a:gd name="connsiteY4" fmla="*/ 873668 h 3822698"/>
              <a:gd name="connsiteX5" fmla="*/ 0 w 3386845"/>
              <a:gd name="connsiteY5" fmla="*/ 844319 h 3822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86845" h="3822698">
                <a:moveTo>
                  <a:pt x="3386845" y="0"/>
                </a:moveTo>
                <a:lnTo>
                  <a:pt x="3386845" y="3822698"/>
                </a:lnTo>
                <a:lnTo>
                  <a:pt x="3167140" y="3822698"/>
                </a:lnTo>
                <a:lnTo>
                  <a:pt x="467964" y="3582358"/>
                </a:lnTo>
                <a:lnTo>
                  <a:pt x="0" y="873668"/>
                </a:lnTo>
                <a:lnTo>
                  <a:pt x="0" y="844319"/>
                </a:lnTo>
                <a:close/>
              </a:path>
            </a:pathLst>
          </a:cu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(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 </a:t>
            </a:r>
            <a:r>
              <a:rPr lang="de-DE" err="1"/>
              <a:t>picture</a:t>
            </a:r>
            <a:r>
              <a:rPr lang="de-DE"/>
              <a:t>)</a:t>
            </a:r>
          </a:p>
        </p:txBody>
      </p:sp>
      <p:sp>
        <p:nvSpPr>
          <p:cNvPr id="19" name="TextBox 13">
            <a:extLst>
              <a:ext uri="{FF2B5EF4-FFF2-40B4-BE49-F238E27FC236}">
                <a16:creationId xmlns:a16="http://schemas.microsoft.com/office/drawing/2014/main" id="{7ACC6FF3-DF98-4F66-A5CD-D09A8C963719}"/>
              </a:ext>
            </a:extLst>
          </p:cNvPr>
          <p:cNvSpPr txBox="1"/>
          <p:nvPr/>
        </p:nvSpPr>
        <p:spPr>
          <a:xfrm>
            <a:off x="828000" y="4613375"/>
            <a:ext cx="199756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000" noProof="0">
                <a:solidFill>
                  <a:schemeClr val="tx1"/>
                </a:solidFill>
              </a:rPr>
              <a:t>From insight to impact</a:t>
            </a:r>
          </a:p>
        </p:txBody>
      </p:sp>
      <p:pic>
        <p:nvPicPr>
          <p:cNvPr id="9" name="Rectangle 2" descr="{&quot;templafy&quot;:{&quot;id&quot;:&quot;b9ddadaa-0495-446c-a774-3deec88f84b2&quot;}}">
            <a:extLst>
              <a:ext uri="{FF2B5EF4-FFF2-40B4-BE49-F238E27FC236}">
                <a16:creationId xmlns:a16="http://schemas.microsoft.com/office/drawing/2014/main" id="{98C16689-5F42-4888-9DF2-4ABEA74251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1173" y="313025"/>
            <a:ext cx="2221200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451636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Agenda">
    <p:bg>
      <p:bgPr>
        <a:solidFill>
          <a:srgbClr val="8182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8"/>
          <p:cNvSpPr>
            <a:spLocks noGrp="1"/>
          </p:cNvSpPr>
          <p:nvPr>
            <p:ph sz="quarter" idx="12" hasCustomPrompt="1"/>
          </p:nvPr>
        </p:nvSpPr>
        <p:spPr>
          <a:xfrm>
            <a:off x="359568" y="837316"/>
            <a:ext cx="8640923" cy="3832658"/>
          </a:xfrm>
          <a:prstGeom prst="rect">
            <a:avLst/>
          </a:prstGeom>
          <a:noFill/>
        </p:spPr>
        <p:txBody>
          <a:bodyPr lIns="0" tIns="0" rIns="0" bIns="0"/>
          <a:lstStyle>
            <a:lvl1pPr marL="342900" indent="-342900">
              <a:buClr>
                <a:srgbClr val="FFFFFF"/>
              </a:buClr>
              <a:buSzPct val="120000"/>
              <a:buFont typeface="+mj-lt"/>
              <a:buAutoNum type="arabicPeriod"/>
              <a:defRPr sz="15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-216000"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indent="-189000">
              <a:buClr>
                <a:srgbClr val="00802F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indent="-189000">
              <a:defRPr sz="13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indent="-189000">
              <a:defRPr sz="135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indent="-189000">
              <a:defRPr sz="1200" baseline="0"/>
            </a:lvl6pPr>
          </a:lstStyle>
          <a:p>
            <a:pPr lvl="0"/>
            <a:r>
              <a:rPr lang="de-CH"/>
              <a:t>Item</a:t>
            </a:r>
          </a:p>
          <a:p>
            <a:pPr lvl="0"/>
            <a:r>
              <a:rPr lang="de-CH"/>
              <a:t>Item</a:t>
            </a:r>
          </a:p>
          <a:p>
            <a:pPr lvl="0"/>
            <a:r>
              <a:rPr lang="de-CH"/>
              <a:t>Ite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1C2A895-16DA-4C23-AD86-4817FFC922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8C51B3B-648A-4B4E-8ECF-64EBB77FA26F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>
                <a:cs typeface="Arial" panose="020B0604020202020204" pitchFamily="34" charset="0"/>
              </a:rPr>
              <a:t>© Sep-21, SCS-HSG</a:t>
            </a:r>
            <a:endParaRPr lang="en-US"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BB15421-48BB-46F1-84E0-414FC650205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D77B3A3-157C-467D-BC92-7A7CB5728D6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96044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BC26FE97-F26B-4E82-A0C3-596FA211B8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584A2184-A254-4AC1-9845-4F49D567B0E5}"/>
              </a:ext>
            </a:extLst>
          </p:cNvPr>
          <p:cNvSpPr/>
          <p:nvPr userDrawn="1"/>
        </p:nvSpPr>
        <p:spPr bwMode="auto">
          <a:xfrm>
            <a:off x="6894258" y="3008550"/>
            <a:ext cx="2105677" cy="1237183"/>
          </a:xfrm>
          <a:prstGeom prst="rect">
            <a:avLst/>
          </a:prstGeom>
          <a:solidFill>
            <a:schemeClr val="bg1">
              <a:alpha val="81000"/>
            </a:schemeClr>
          </a:solidFill>
          <a:ln w="28575">
            <a:noFill/>
            <a:miter lim="800000"/>
            <a:headEnd/>
            <a:tailEnd type="none" w="lg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rtlCol="0" anchor="t">
            <a:normAutofit/>
          </a:bodyPr>
          <a:lstStyle/>
          <a:p>
            <a:pPr lvl="0" indent="0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</a:pPr>
            <a:endParaRPr lang="de-DE" sz="788" b="0" i="0" baseline="0">
              <a:latin typeface="+mj-lt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5822315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3" imgH="330" progId="TCLayout.ActiveDocument.1">
                  <p:embed/>
                </p:oleObj>
              </mc:Choice>
              <mc:Fallback>
                <p:oleObj name="think-cell Folie" r:id="rId4" imgW="343" imgH="33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B58DBE43-68D6-436D-88F1-57620C6ADE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0DAFDAA0-9F23-4913-BF4E-10376010520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26307" y="4493721"/>
            <a:ext cx="1727696" cy="358829"/>
          </a:xfrm>
          <a:prstGeom prst="rect">
            <a:avLst/>
          </a:prstGeom>
        </p:spPr>
      </p:pic>
      <p:grpSp>
        <p:nvGrpSpPr>
          <p:cNvPr id="10" name="Group 11">
            <a:extLst>
              <a:ext uri="{FF2B5EF4-FFF2-40B4-BE49-F238E27FC236}">
                <a16:creationId xmlns:a16="http://schemas.microsoft.com/office/drawing/2014/main" id="{1ADFCD42-8D0A-4B1B-BA71-131A857C66A1}"/>
              </a:ext>
            </a:extLst>
          </p:cNvPr>
          <p:cNvGrpSpPr/>
          <p:nvPr userDrawn="1"/>
        </p:nvGrpSpPr>
        <p:grpSpPr>
          <a:xfrm>
            <a:off x="4788025" y="4353947"/>
            <a:ext cx="2468477" cy="583143"/>
            <a:chOff x="797910" y="3788080"/>
            <a:chExt cx="3291303" cy="777524"/>
          </a:xfrm>
        </p:grpSpPr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8E0B8BF8-8CC3-441C-98B1-0C411FFD0BE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360406" y="3821665"/>
              <a:ext cx="513028" cy="710354"/>
            </a:xfrm>
            <a:prstGeom prst="rect">
              <a:avLst/>
            </a:prstGeom>
          </p:spPr>
        </p:pic>
        <p:pic>
          <p:nvPicPr>
            <p:cNvPr id="14" name="Grafik 7">
              <a:extLst>
                <a:ext uri="{FF2B5EF4-FFF2-40B4-BE49-F238E27FC236}">
                  <a16:creationId xmlns:a16="http://schemas.microsoft.com/office/drawing/2014/main" id="{FE47BD31-DC6A-40EA-B8D3-4A0884D5037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92988" y="3900801"/>
              <a:ext cx="596225" cy="552083"/>
            </a:xfrm>
            <a:prstGeom prst="rect">
              <a:avLst/>
            </a:prstGeom>
          </p:spPr>
        </p:pic>
        <p:pic>
          <p:nvPicPr>
            <p:cNvPr id="15" name="Grafik 17">
              <a:extLst>
                <a:ext uri="{FF2B5EF4-FFF2-40B4-BE49-F238E27FC236}">
                  <a16:creationId xmlns:a16="http://schemas.microsoft.com/office/drawing/2014/main" id="{500FA54C-5CF6-491F-A606-038FE5CC3BD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7910" y="3788080"/>
              <a:ext cx="1082350" cy="777524"/>
            </a:xfrm>
            <a:prstGeom prst="rect">
              <a:avLst/>
            </a:prstGeom>
          </p:spPr>
        </p:pic>
      </p:grp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71D323B-0EDD-4B03-83CD-A49C15F19CB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7385785" y="3585129"/>
            <a:ext cx="1541998" cy="594066"/>
          </a:xfrm>
        </p:spPr>
        <p:txBody>
          <a:bodyPr vert="horz" lIns="0" tIns="0" rIns="0" bIns="0" rtlCol="0">
            <a:noAutofit/>
          </a:bodyPr>
          <a:lstStyle>
            <a:lvl1pPr>
              <a:defRPr lang="de-CH" sz="750" b="1" dirty="0" smtClean="0"/>
            </a:lvl1pPr>
            <a:lvl2pPr>
              <a:defRPr lang="de-CH" sz="750" dirty="0" smtClean="0"/>
            </a:lvl2pPr>
            <a:lvl3pPr>
              <a:defRPr lang="de-CH" sz="750" dirty="0" smtClean="0"/>
            </a:lvl3pPr>
            <a:lvl4pPr>
              <a:defRPr lang="de-CH" sz="750" dirty="0" smtClean="0"/>
            </a:lvl4pPr>
            <a:lvl5pPr>
              <a:defRPr lang="de-CH" sz="750" dirty="0" smtClean="0"/>
            </a:lvl5pPr>
          </a:lstStyle>
          <a:p>
            <a:pPr marL="0" lvl="0" indent="0">
              <a:buNone/>
            </a:pPr>
            <a:r>
              <a:rPr lang="de-CH"/>
              <a:t>&lt;Title&gt; </a:t>
            </a:r>
            <a:r>
              <a:rPr lang="de-CH" err="1"/>
              <a:t>FirstName</a:t>
            </a:r>
            <a:r>
              <a:rPr lang="de-CH"/>
              <a:t> </a:t>
            </a:r>
            <a:r>
              <a:rPr lang="de-CH" err="1"/>
              <a:t>LastName</a:t>
            </a:r>
            <a:endParaRPr lang="de-CH"/>
          </a:p>
          <a:p>
            <a:pPr marL="0" lvl="1" indent="0">
              <a:spcBef>
                <a:spcPts val="0"/>
              </a:spcBef>
              <a:spcAft>
                <a:spcPts val="450"/>
              </a:spcAft>
              <a:buNone/>
            </a:pPr>
            <a:r>
              <a:rPr lang="de-CH" err="1"/>
              <a:t>Function</a:t>
            </a:r>
            <a:endParaRPr lang="de-CH"/>
          </a:p>
          <a:p>
            <a:pPr marL="0" lvl="2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de-CH"/>
              <a:t>firstname.lastname@unisg.ch</a:t>
            </a:r>
          </a:p>
          <a:p>
            <a:pPr marL="0" lvl="3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de-CH"/>
              <a:t>www.iwi.unisg.ch</a:t>
            </a:r>
          </a:p>
          <a:p>
            <a:pPr marL="0" lvl="4" indent="0">
              <a:spcBef>
                <a:spcPts val="0"/>
              </a:spcBef>
              <a:buNone/>
            </a:pPr>
            <a:r>
              <a:rPr lang="de-CH"/>
              <a:t>+41 71 224 </a:t>
            </a:r>
            <a:r>
              <a:rPr lang="de-CH" err="1"/>
              <a:t>xxxx</a:t>
            </a:r>
            <a:endParaRPr lang="de-CH" sz="900"/>
          </a:p>
        </p:txBody>
      </p:sp>
      <p:pic>
        <p:nvPicPr>
          <p:cNvPr id="13" name="Rectangle 2" descr="{&quot;templafy&quot;:{&quot;id&quot;:&quot;b9ddadaa-0495-446c-a774-3deec88f84b2&quot;}}">
            <a:extLst>
              <a:ext uri="{FF2B5EF4-FFF2-40B4-BE49-F238E27FC236}">
                <a16:creationId xmlns:a16="http://schemas.microsoft.com/office/drawing/2014/main" id="{075F9713-6868-46DE-BB5A-9534703D42E8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7063809" y="3192183"/>
            <a:ext cx="1397480" cy="289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174346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D1B894-9ED2-46F7-A8A7-027F1ED64B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D9B6BE-9F3B-4CC2-9CFF-F595480D4A4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83A305-7A09-4FB6-8ACB-8BFCF88819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6B4D8B-295A-48CB-B8C4-8B3B251DBB7C}" type="datetime1">
              <a:rPr lang="en-US" smtClean="0"/>
              <a:t>11/2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9426D6-21D0-4857-B6F6-DD13C795BE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5134AA-E6D9-4909-A1C7-30812491D2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2EECED-B2E4-49C5-A419-58B4E364D3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14330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skating, building, ramp, board&#10;&#10;Description automatically generated">
            <a:extLst>
              <a:ext uri="{FF2B5EF4-FFF2-40B4-BE49-F238E27FC236}">
                <a16:creationId xmlns:a16="http://schemas.microsoft.com/office/drawing/2014/main" id="{71655C6F-D683-4181-8A76-C2CF9E2F41C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63"/>
          <a:stretch/>
        </p:blipFill>
        <p:spPr>
          <a:xfrm>
            <a:off x="6190089" y="0"/>
            <a:ext cx="2953911" cy="5143500"/>
          </a:xfrm>
          <a:prstGeom prst="rect">
            <a:avLst/>
          </a:prstGeom>
        </p:spPr>
      </p:pic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7F3237B-A6D8-401E-A0E8-75ED37DDC0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1276350"/>
            <a:ext cx="5292724" cy="3203575"/>
          </a:xfrm>
        </p:spPr>
        <p:txBody>
          <a:bodyPr>
            <a:normAutofit/>
          </a:bodyPr>
          <a:lstStyle>
            <a:lvl1pPr marL="396000" indent="-396000">
              <a:spcAft>
                <a:spcPts val="600"/>
              </a:spcAft>
              <a:buFont typeface="+mj-lt"/>
              <a:buAutoNum type="arabicPeriod"/>
              <a:defRPr sz="1600"/>
            </a:lvl1pPr>
            <a:lvl2pPr marL="342900" indent="-342900">
              <a:spcAft>
                <a:spcPts val="600"/>
              </a:spcAft>
              <a:buFont typeface="+mj-lt"/>
              <a:buAutoNum type="arabicPeriod"/>
              <a:defRPr sz="1600"/>
            </a:lvl2pPr>
            <a:lvl3pPr marL="342900" indent="-342900">
              <a:spcAft>
                <a:spcPts val="600"/>
              </a:spcAft>
              <a:buFont typeface="+mj-lt"/>
              <a:buAutoNum type="arabicPeriod"/>
              <a:defRPr sz="1600"/>
            </a:lvl3pPr>
            <a:lvl4pPr marL="342900" indent="-342900">
              <a:spcAft>
                <a:spcPts val="600"/>
              </a:spcAft>
              <a:buFont typeface="+mj-lt"/>
              <a:buAutoNum type="arabicPeriod"/>
              <a:defRPr sz="1600"/>
            </a:lvl4pPr>
            <a:lvl5pPr marL="342900" indent="-342900">
              <a:spcAft>
                <a:spcPts val="600"/>
              </a:spcAft>
              <a:buFont typeface="+mj-lt"/>
              <a:buAutoNum type="arabicPeriod"/>
              <a:defRPr sz="1600"/>
            </a:lvl5pPr>
          </a:lstStyle>
          <a:p>
            <a:pPr lvl="0"/>
            <a:r>
              <a:rPr lang="de-DE"/>
              <a:t>First ite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64CDDE-58C2-4810-8B30-D17CF249E28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936974457" name="Rectangle 10" descr="{&quot;templafy&quot;:{&quot;id&quot;:&quot;983d3f15-dbac-4adc-ac60-bc0247138669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AF9D94E7-5503-4A78-9A9D-3BC60709B2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376238"/>
            <a:ext cx="5292725" cy="609662"/>
          </a:xfrm>
        </p:spPr>
        <p:txBody>
          <a:bodyPr anchor="t"/>
          <a:lstStyle>
            <a:lvl1pPr>
              <a:defRPr>
                <a:latin typeface="+mj-lt"/>
              </a:defRPr>
            </a:lvl1pPr>
          </a:lstStyle>
          <a:p>
            <a:r>
              <a:rPr lang="en-US" noProof="0"/>
              <a:t>Agenda Title placeholder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7A444DF1-FB08-4892-B960-CC1A107898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47143" y="4767262"/>
            <a:ext cx="2004356" cy="184335"/>
          </a:xfrm>
          <a:prstGeom prst="rect">
            <a:avLst/>
          </a:prstGeom>
        </p:spPr>
        <p:txBody>
          <a:bodyPr/>
          <a:lstStyle>
            <a:lvl1pPr algn="r">
              <a:defRPr sz="800"/>
            </a:lvl1pPr>
          </a:lstStyle>
          <a:p>
            <a:fld id="{B57B5CD7-A0CA-4D38-BBC7-2C00C2D8EDD2}" type="datetime6">
              <a:rPr lang="de-CH" smtClean="0"/>
              <a:t>November 23</a:t>
            </a:fld>
            <a:endParaRPr lang="de-DE"/>
          </a:p>
        </p:txBody>
      </p:sp>
      <p:pic>
        <p:nvPicPr>
          <p:cNvPr id="13" name="Rectangle 11" descr="{&quot;templafy&quot;:{&quot;id&quot;:&quot;132fdc2d-0d58-46db-a0cb-916ce7270cac&quot;}}">
            <a:extLst>
              <a:ext uri="{FF2B5EF4-FFF2-40B4-BE49-F238E27FC236}">
                <a16:creationId xmlns:a16="http://schemas.microsoft.com/office/drawing/2014/main" id="{BBAB33F5-93EF-4448-89CD-5EFFC7AC047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56400" y="4704059"/>
            <a:ext cx="1026000" cy="2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13945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trenne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4B88CA-EB6E-49E8-8E20-86448C522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48000" y="376238"/>
            <a:ext cx="7237225" cy="2496171"/>
          </a:xfrm>
        </p:spPr>
        <p:txBody>
          <a:bodyPr anchor="b">
            <a:normAutofit/>
          </a:bodyPr>
          <a:lstStyle>
            <a:lvl1pPr marL="0" indent="0" algn="l">
              <a:lnSpc>
                <a:spcPts val="5200"/>
              </a:lnSpc>
              <a:buFont typeface="+mj-lt"/>
              <a:buNone/>
              <a:defRPr sz="5000">
                <a:solidFill>
                  <a:schemeClr val="bg2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Section Title placehold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182261-379D-435B-BB30-A2A9B6CF3E6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548000" y="3001618"/>
            <a:ext cx="6025617" cy="1478308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bg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Sub-section Title placeholder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AA3A5247-554A-42FF-BCCF-A11D65465AA4}"/>
              </a:ext>
            </a:extLst>
          </p:cNvPr>
          <p:cNvSpPr>
            <a:spLocks noChangeAspect="1"/>
          </p:cNvSpPr>
          <p:nvPr/>
        </p:nvSpPr>
        <p:spPr>
          <a:xfrm>
            <a:off x="4572001" y="3166310"/>
            <a:ext cx="4572000" cy="5009983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72474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trenner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DC68F798-C07C-4BF8-8573-0552735B83E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lIns="180000" tIns="18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086A8A6-B06D-46A2-BCC7-BE87EF4B48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48000" y="376238"/>
            <a:ext cx="7237225" cy="2496171"/>
          </a:xfrm>
        </p:spPr>
        <p:txBody>
          <a:bodyPr anchor="b">
            <a:normAutofit/>
          </a:bodyPr>
          <a:lstStyle>
            <a:lvl1pPr marL="0" indent="0" algn="l">
              <a:lnSpc>
                <a:spcPts val="5200"/>
              </a:lnSpc>
              <a:buFont typeface="+mj-lt"/>
              <a:buNone/>
              <a:defRPr sz="50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Section Title placeholder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046345E-A7CE-41CD-A50F-C13F46D2992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548000" y="3001618"/>
            <a:ext cx="6025617" cy="1478308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Sub-section Title placeholder</a:t>
            </a:r>
          </a:p>
        </p:txBody>
      </p:sp>
    </p:spTree>
    <p:extLst>
      <p:ext uri="{BB962C8B-B14F-4D97-AF65-F5344CB8AC3E}">
        <p14:creationId xmlns:p14="http://schemas.microsoft.com/office/powerpoint/2010/main" val="22511387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u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9D5294-8509-42D7-B32F-8FB3BCBBB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1DFF60-9E69-4915-A0DD-67FF253288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CB9FAC9-1E0D-44F5-8B7F-C8D103F4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02808710" name="Rectangle 11" descr="{&quot;templafy&quot;:{&quot;id&quot;:&quot;e5775ba5-436d-452a-8e7d-796ebe69e64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E0EB3A11-5BFF-43FB-B68A-0F360BC3F1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30B763E8-28A5-4C06-8953-D607A4035193}" type="datetime6">
              <a:rPr lang="de-CH" smtClean="0"/>
              <a:t>November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465520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9D5294-8509-42D7-B32F-8FB3BCBBB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1DFF60-9E69-4915-A0DD-67FF253288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CB9FAC9-1E0D-44F5-8B7F-C8D103F4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02808710" name="Rectangle 11" descr="{&quot;templafy&quot;:{&quot;id&quot;:&quot;e5775ba5-436d-452a-8e7d-796ebe69e64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E0EB3A11-5BFF-43FB-B68A-0F360BC3F1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B9D665AE-2099-47EB-8D1F-2B3FCA7D9E11}" type="datetime6">
              <a:rPr lang="de-CH" smtClean="0"/>
              <a:t>November 23</a:t>
            </a:fld>
            <a:endParaRPr lang="de-DE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9FB05968-50B4-4E34-B7B1-EF5B02AE61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41541113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9D5294-8509-42D7-B32F-8FB3BCBBB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1DFF60-9E69-4915-A0DD-67FF253288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775" y="1276350"/>
            <a:ext cx="8426450" cy="2556921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CB9FAC9-1E0D-44F5-8B7F-C8D103F4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02808710" name="Rectangle 11" descr="{&quot;templafy&quot;:{&quot;id&quot;:&quot;e5775ba5-436d-452a-8e7d-796ebe69e64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E0EB3A11-5BFF-43FB-B68A-0F360BC3F1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970FC134-CD77-4207-856E-804B9B6F6655}" type="datetime6">
              <a:rPr lang="de-CH" smtClean="0"/>
              <a:t>November 23</a:t>
            </a:fld>
            <a:endParaRPr lang="de-DE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9FB05968-50B4-4E34-B7B1-EF5B02AE61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53049159-3887-46EA-B4CA-459B82DE604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Punchline</a:t>
            </a:r>
          </a:p>
        </p:txBody>
      </p:sp>
      <p:sp>
        <p:nvSpPr>
          <p:cNvPr id="12" name="Inhaltsplatzhalter 16">
            <a:extLst>
              <a:ext uri="{FF2B5EF4-FFF2-40B4-BE49-F238E27FC236}">
                <a16:creationId xmlns:a16="http://schemas.microsoft.com/office/drawing/2014/main" id="{2573B565-8F94-4F75-8571-779016BEE60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2355692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1C1EEF3-9469-F4B0-037D-E329561B14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236564172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5" imgW="7772400" imgH="10058400" progId="TCLayout.ActiveDocument.1">
                  <p:embed/>
                </p:oleObj>
              </mc:Choice>
              <mc:Fallback>
                <p:oleObj name="think-cell Folie" r:id="rId35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C1EEF3-9469-F4B0-037D-E329561B14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2501321-794C-47B8-ABDC-7DAF88C9DC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76238"/>
            <a:ext cx="8426450" cy="6096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Placeholder for a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6F94A2-50F8-430F-B46C-2D50472D7A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8775" y="1276350"/>
            <a:ext cx="8426450" cy="32035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180000" lvl="1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</a:pPr>
            <a:r>
              <a:rPr lang="de-DE"/>
              <a:t>Mastertextformat bearbeiten</a:t>
            </a:r>
          </a:p>
          <a:p>
            <a:pPr marL="358775" lvl="2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de-DE"/>
              <a:t>Zweite Ebene</a:t>
            </a:r>
          </a:p>
          <a:p>
            <a:pPr marL="539750" lvl="3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</a:pPr>
            <a:r>
              <a:rPr lang="de-DE"/>
              <a:t>Dritte Ebene</a:t>
            </a:r>
          </a:p>
          <a:p>
            <a:pPr marL="717550" lvl="4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</a:pPr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  <a:p>
            <a:pPr lvl="4"/>
            <a:endParaRPr lang="en-US" noProof="0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59E8F5F7-0767-41DB-A7E9-38E2EEF730E1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26C2A0-BCAA-4FD2-BD67-F5225215B6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71600" y="4767263"/>
            <a:ext cx="216000" cy="27384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800" spc="-30" baseline="0"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Rectangle 11" descr="{&quot;templafy&quot;:{&quot;id&quot;:&quot;132fdc2d-0d58-46db-a0cb-916ce7270cac&quot;}}">
            <a:extLst>
              <a:ext uri="{FF2B5EF4-FFF2-40B4-BE49-F238E27FC236}">
                <a16:creationId xmlns:a16="http://schemas.microsoft.com/office/drawing/2014/main" id="{32CD6D27-B293-4C37-A785-BDB639DCC809}"/>
              </a:ext>
            </a:extLst>
          </p:cNvPr>
          <p:cNvPicPr>
            <a:picLocks noChangeAspect="1"/>
          </p:cNvPicPr>
          <p:nvPr userDrawn="1"/>
        </p:nvPicPr>
        <p:blipFill>
          <a:blip r:embed="rId37"/>
          <a:stretch>
            <a:fillRect/>
          </a:stretch>
        </p:blipFill>
        <p:spPr>
          <a:xfrm>
            <a:off x="356400" y="4704059"/>
            <a:ext cx="1026000" cy="212400"/>
          </a:xfrm>
          <a:prstGeom prst="rect">
            <a:avLst/>
          </a:prstGeom>
        </p:spPr>
      </p:pic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482702DE-7FC5-499E-AE60-0DC8AAD4A3D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78BEB732-1EAE-4447-B6B5-5E7B232FABE4}" type="datetime6">
              <a:rPr lang="de-CH" smtClean="0"/>
              <a:t>November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6037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88" r:id="rId2"/>
    <p:sldLayoutId id="2147483689" r:id="rId3"/>
    <p:sldLayoutId id="2147483677" r:id="rId4"/>
    <p:sldLayoutId id="2147483663" r:id="rId5"/>
    <p:sldLayoutId id="2147483686" r:id="rId6"/>
    <p:sldLayoutId id="2147483693" r:id="rId7"/>
    <p:sldLayoutId id="2147483662" r:id="rId8"/>
    <p:sldLayoutId id="2147483697" r:id="rId9"/>
    <p:sldLayoutId id="2147483664" r:id="rId10"/>
    <p:sldLayoutId id="2147483694" r:id="rId11"/>
    <p:sldLayoutId id="2147483698" r:id="rId12"/>
    <p:sldLayoutId id="2147483701" r:id="rId13"/>
    <p:sldLayoutId id="2147483702" r:id="rId14"/>
    <p:sldLayoutId id="2147483672" r:id="rId15"/>
    <p:sldLayoutId id="2147483695" r:id="rId16"/>
    <p:sldLayoutId id="2147483699" r:id="rId17"/>
    <p:sldLayoutId id="2147483673" r:id="rId18"/>
    <p:sldLayoutId id="2147483666" r:id="rId19"/>
    <p:sldLayoutId id="2147483696" r:id="rId20"/>
    <p:sldLayoutId id="2147483700" r:id="rId21"/>
    <p:sldLayoutId id="2147483680" r:id="rId22"/>
    <p:sldLayoutId id="2147483678" r:id="rId23"/>
    <p:sldLayoutId id="2147483679" r:id="rId24"/>
    <p:sldLayoutId id="2147483675" r:id="rId25"/>
    <p:sldLayoutId id="2147483683" r:id="rId26"/>
    <p:sldLayoutId id="2147483667" r:id="rId27"/>
    <p:sldLayoutId id="2147483681" r:id="rId28"/>
    <p:sldLayoutId id="2147483703" r:id="rId29"/>
    <p:sldLayoutId id="2147483705" r:id="rId30"/>
    <p:sldLayoutId id="2147483706" r:id="rId31"/>
    <p:sldLayoutId id="2147483707" r:id="rId32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9388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Char char="‒"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179388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Char char="•"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79388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3">
          <p15:clr>
            <a:srgbClr val="F26B43"/>
          </p15:clr>
        </p15:guide>
        <p15:guide id="3" pos="226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237">
          <p15:clr>
            <a:srgbClr val="F26B43"/>
          </p15:clr>
        </p15:guide>
        <p15:guide id="6" orient="horz" pos="804">
          <p15:clr>
            <a:srgbClr val="F26B43"/>
          </p15:clr>
        </p15:guide>
        <p15:guide id="7" orient="horz" pos="2822">
          <p15:clr>
            <a:srgbClr val="F26B43"/>
          </p15:clr>
        </p15:guide>
        <p15:guide id="8" pos="2823">
          <p15:clr>
            <a:srgbClr val="F26B43"/>
          </p15:clr>
        </p15:guide>
        <p15:guide id="9" pos="2937">
          <p15:clr>
            <a:srgbClr val="F26B43"/>
          </p15:clr>
        </p15:guide>
        <p15:guide id="10" orient="horz" pos="463">
          <p15:clr>
            <a:srgbClr val="F26B43"/>
          </p15:clr>
        </p15:guide>
        <p15:guide id="11" orient="horz" pos="309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Relationship Id="rId4" Type="http://schemas.openxmlformats.org/officeDocument/2006/relationships/image" Target="../media/image21.emf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pandas.pydata.org/docs/reference/frame.html" TargetMode="External"/><Relationship Id="rId2" Type="http://schemas.openxmlformats.org/officeDocument/2006/relationships/hyperlink" Target="https://pandas.pydata.org/docs/reference/index.html" TargetMode="Externa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pandas.pydata.org/docs/reference/io.html" TargetMode="External"/><Relationship Id="rId2" Type="http://schemas.openxmlformats.org/officeDocument/2006/relationships/hyperlink" Target="https://pandas.pydata.org/docs/reference/frame.html" TargetMode="Externa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2.png"/><Relationship Id="rId5" Type="http://schemas.openxmlformats.org/officeDocument/2006/relationships/hyperlink" Target="https://www.kaggle.com/datasets/AnalyzeBoston/crimes-in-boston" TargetMode="External"/><Relationship Id="rId4" Type="http://schemas.openxmlformats.org/officeDocument/2006/relationships/hyperlink" Target="https://pandas.pydata.org/docs/reference/api/pandas.read_csv.html#pandas.read_csv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hyperlink" Target="https://pandas.pydata.org/docs/reference/api/pandas.DataFrame.head.html?highlight=pandas%20head#pandas.DataFrame.head" TargetMode="Externa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pandas.pydata.org/docs/reference/api/pandas.DataFrame.iloc.html" TargetMode="External"/><Relationship Id="rId2" Type="http://schemas.openxmlformats.org/officeDocument/2006/relationships/hyperlink" Target="https://pandas.pydata.org/docs/reference/api/pandas.DataFrame.loc.html" TargetMode="External"/><Relationship Id="rId1" Type="http://schemas.openxmlformats.org/officeDocument/2006/relationships/slideLayout" Target="../slideLayouts/slideLayout3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hyperlink" Target="https://pandas.pydata.org/docs/reference/api/pandas.DataFrame.loc.html" TargetMode="External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hyperlink" Target="https://pandas.pydata.org/docs/reference/api/pandas.DataFrame.iloc.html" TargetMode="External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hyperlink" Target="https://pandas.pydata.org/docs/reference/api/pandas.DataFrame.html" TargetMode="External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hyperlink" Target="https://pandas.pydata.org/docs/reference/api/pandas.Series.html#pandas.Series" TargetMode="External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numpy.org/doc/stable/reference/generated/numpy.ndarray.html" TargetMode="External"/><Relationship Id="rId2" Type="http://schemas.openxmlformats.org/officeDocument/2006/relationships/hyperlink" Target="https://pandas.pydata.org/docs/reference/api/pandas.Series.html#pandas.Series" TargetMode="Externa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8.png"/><Relationship Id="rId4" Type="http://schemas.openxmlformats.org/officeDocument/2006/relationships/hyperlink" Target="https://numpy.org/doc/stable/index.html" TargetMode="Externa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hyperlink" Target="https://pandas.pydata.org/docs/reference/api/pandas.DataFrame.copy.html" TargetMode="External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numpy.org/doc/stable/reference/constants.html#numpy.NaN" TargetMode="External"/><Relationship Id="rId2" Type="http://schemas.openxmlformats.org/officeDocument/2006/relationships/hyperlink" Target="https://pandas.pydata.org/docs/reference/api/pandas.DataFrame.dropna.html" TargetMode="Externa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hyperlink" Target="https://pandas.pydata.org/docs/reference/api/pandas.DataFrame.groupby.html" TargetMode="External"/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pandas.pydata.org/docs/reference/api/pandas.DataFrame.sort_index.html" TargetMode="External"/><Relationship Id="rId2" Type="http://schemas.openxmlformats.org/officeDocument/2006/relationships/hyperlink" Target="https://pandas.pydata.org/docs/reference/api/pandas.DataFrame.set_index.html" TargetMode="External"/><Relationship Id="rId1" Type="http://schemas.openxmlformats.org/officeDocument/2006/relationships/slideLayout" Target="../slideLayouts/slideLayout12.xml"/><Relationship Id="rId4" Type="http://schemas.openxmlformats.org/officeDocument/2006/relationships/hyperlink" Target="https://pandas.pydata.org/docs/reference/api/pandas.DataFrame.sort_values.html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Relationship Id="rId4" Type="http://schemas.openxmlformats.org/officeDocument/2006/relationships/image" Target="../media/image13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4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Relationship Id="rId4" Type="http://schemas.openxmlformats.org/officeDocument/2006/relationships/image" Target="../media/image21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mailto:lirst.last@%3Cstudent.%3Eunisg.ch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Relationship Id="rId4" Type="http://schemas.openxmlformats.org/officeDocument/2006/relationships/image" Target="../media/image15.em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D3143055-81F2-4195-A863-909ED77C7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015" y="1636541"/>
            <a:ext cx="8132898" cy="1531505"/>
          </a:xfrm>
        </p:spPr>
        <p:txBody>
          <a:bodyPr/>
          <a:lstStyle/>
          <a:p>
            <a:r>
              <a:rPr lang="de-DE" err="1">
                <a:latin typeface="Gill Sans Nova Light"/>
              </a:rPr>
              <a:t>Fundamentals</a:t>
            </a:r>
            <a:r>
              <a:rPr lang="de-DE">
                <a:latin typeface="Gill Sans Nova Light"/>
              </a:rPr>
              <a:t> and Methods </a:t>
            </a:r>
            <a:r>
              <a:rPr lang="de-DE" err="1">
                <a:latin typeface="Gill Sans Nova Light"/>
              </a:rPr>
              <a:t>of</a:t>
            </a:r>
            <a:r>
              <a:rPr lang="de-DE">
                <a:latin typeface="Gill Sans Nova Light"/>
              </a:rPr>
              <a:t> Computer Science</a:t>
            </a:r>
            <a:endParaRPr lang="de-DE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C11E479-9B3A-42D2-A07C-80F9E92433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de-DE" b="1" err="1"/>
              <a:t>Exercise</a:t>
            </a:r>
            <a:r>
              <a:rPr lang="de-DE" b="1"/>
              <a:t> </a:t>
            </a:r>
            <a:r>
              <a:rPr lang="de-DE" b="1" err="1"/>
              <a:t>week</a:t>
            </a:r>
            <a:r>
              <a:rPr lang="de-DE" b="1"/>
              <a:t> 8</a:t>
            </a:r>
          </a:p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724966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1C058E9-CDB2-5401-7BE7-9AA096D8E3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Question 4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80C6F38-2113-9A7A-F8CA-DEA212660A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8711" y="1351207"/>
            <a:ext cx="4225427" cy="2835989"/>
          </a:xfrm>
        </p:spPr>
        <p:txBody>
          <a:bodyPr vert="horz" lIns="0" tIns="0" rIns="0" bIns="0" rtlCol="0" anchor="t">
            <a:normAutofit/>
          </a:bodyPr>
          <a:lstStyle/>
          <a:p>
            <a:pPr marL="0" indent="0"/>
            <a:r>
              <a:rPr lang="en-US">
                <a:ea typeface="+mn-lt"/>
                <a:cs typeface="+mn-lt"/>
              </a:rPr>
              <a:t>Please assume that the table </a:t>
            </a:r>
            <a:r>
              <a:rPr lang="en-US" b="1">
                <a:ea typeface="+mn-lt"/>
                <a:cs typeface="+mn-lt"/>
              </a:rPr>
              <a:t>persons </a:t>
            </a:r>
            <a:r>
              <a:rPr lang="en-US">
                <a:ea typeface="+mn-lt"/>
                <a:cs typeface="+mn-lt"/>
              </a:rPr>
              <a:t>exists, with a non-null column </a:t>
            </a:r>
            <a:r>
              <a:rPr lang="en-US" b="1">
                <a:ea typeface="+mn-lt"/>
                <a:cs typeface="+mn-lt"/>
              </a:rPr>
              <a:t>grade </a:t>
            </a:r>
            <a:r>
              <a:rPr lang="en-US">
                <a:ea typeface="+mn-lt"/>
                <a:cs typeface="+mn-lt"/>
              </a:rPr>
              <a:t>that has correct numerical values and a column </a:t>
            </a:r>
            <a:r>
              <a:rPr lang="en-US" b="1">
                <a:ea typeface="+mn-lt"/>
                <a:cs typeface="+mn-lt"/>
              </a:rPr>
              <a:t>course </a:t>
            </a:r>
            <a:r>
              <a:rPr lang="en-US">
                <a:ea typeface="+mn-lt"/>
                <a:cs typeface="+mn-lt"/>
              </a:rPr>
              <a:t>that contains one course name in each tuple as a String.</a:t>
            </a:r>
            <a:endParaRPr lang="en-US"/>
          </a:p>
          <a:p>
            <a:pPr marL="0" indent="0"/>
            <a:endParaRPr lang="en-US"/>
          </a:p>
          <a:p>
            <a:pPr marL="0" indent="0"/>
            <a:r>
              <a:rPr lang="en-US">
                <a:ea typeface="+mn-lt"/>
                <a:cs typeface="+mn-lt"/>
              </a:rPr>
              <a:t>Fill in the missing keywords to compute and return the mean value of </a:t>
            </a:r>
            <a:r>
              <a:rPr lang="en-US" b="1">
                <a:ea typeface="+mn-lt"/>
                <a:cs typeface="+mn-lt"/>
              </a:rPr>
              <a:t>grades </a:t>
            </a:r>
            <a:r>
              <a:rPr lang="en-US">
                <a:ea typeface="+mn-lt"/>
                <a:cs typeface="+mn-lt"/>
              </a:rPr>
              <a:t>for the ten best graded </a:t>
            </a:r>
            <a:r>
              <a:rPr lang="en-US" b="1">
                <a:ea typeface="+mn-lt"/>
                <a:cs typeface="+mn-lt"/>
              </a:rPr>
              <a:t>courses </a:t>
            </a:r>
            <a:r>
              <a:rPr lang="en-US">
                <a:ea typeface="+mn-lt"/>
                <a:cs typeface="+mn-lt"/>
              </a:rPr>
              <a:t>in the table </a:t>
            </a:r>
            <a:r>
              <a:rPr lang="en-US" b="1">
                <a:ea typeface="+mn-lt"/>
                <a:cs typeface="+mn-lt"/>
              </a:rPr>
              <a:t>persons</a:t>
            </a:r>
            <a:r>
              <a:rPr lang="en-US">
                <a:ea typeface="+mn-lt"/>
                <a:cs typeface="+mn-lt"/>
              </a:rPr>
              <a:t>.</a:t>
            </a:r>
            <a:endParaRPr lang="en-US"/>
          </a:p>
          <a:p>
            <a:pPr marL="0" indent="0"/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BC4A593-5BB9-3B4A-5874-1FF868558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10</a:t>
            </a:fld>
            <a:endParaRPr lang="en-GB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C5D222FF-9F7F-DD97-D2E7-A3FBD2EDC136}"/>
              </a:ext>
            </a:extLst>
          </p:cNvPr>
          <p:cNvSpPr txBox="1">
            <a:spLocks/>
          </p:cNvSpPr>
          <p:nvPr/>
        </p:nvSpPr>
        <p:spPr>
          <a:xfrm>
            <a:off x="4990138" y="1284311"/>
            <a:ext cx="2524216" cy="1174653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705" indent="-179705"/>
            <a:r>
              <a:rPr lang="en-US" u="sng">
                <a:ea typeface="+mn-lt"/>
                <a:cs typeface="+mn-lt"/>
              </a:rPr>
              <a:t>SELECT</a:t>
            </a:r>
            <a:r>
              <a:rPr lang="en-US">
                <a:ea typeface="+mn-lt"/>
                <a:cs typeface="+mn-lt"/>
              </a:rPr>
              <a:t> course, </a:t>
            </a:r>
            <a:r>
              <a:rPr lang="en-US" u="sng">
                <a:ea typeface="+mn-lt"/>
                <a:cs typeface="+mn-lt"/>
              </a:rPr>
              <a:t>AVG(grade)</a:t>
            </a:r>
            <a:endParaRPr lang="en-US" u="sng"/>
          </a:p>
          <a:p>
            <a:pPr marL="179705" indent="-179705"/>
            <a:r>
              <a:rPr lang="en-US">
                <a:ea typeface="+mn-lt"/>
                <a:cs typeface="+mn-lt"/>
              </a:rPr>
              <a:t>FROM </a:t>
            </a:r>
            <a:r>
              <a:rPr lang="en-US" u="sng">
                <a:ea typeface="+mn-lt"/>
                <a:cs typeface="+mn-lt"/>
              </a:rPr>
              <a:t>persons</a:t>
            </a:r>
            <a:endParaRPr lang="en-US" u="sng"/>
          </a:p>
          <a:p>
            <a:pPr marL="179705" indent="-179705"/>
            <a:r>
              <a:rPr lang="en-US" u="sng">
                <a:ea typeface="+mn-lt"/>
                <a:cs typeface="+mn-lt"/>
              </a:rPr>
              <a:t>GROUP BY</a:t>
            </a:r>
            <a:r>
              <a:rPr lang="en-US">
                <a:ea typeface="+mn-lt"/>
                <a:cs typeface="+mn-lt"/>
              </a:rPr>
              <a:t> course</a:t>
            </a:r>
          </a:p>
          <a:p>
            <a:pPr marL="179705" indent="-179705"/>
            <a:r>
              <a:rPr lang="en-US">
                <a:ea typeface="+mn-lt"/>
                <a:cs typeface="+mn-lt"/>
              </a:rPr>
              <a:t>ORDER BY </a:t>
            </a:r>
            <a:r>
              <a:rPr lang="en-US" u="sng">
                <a:ea typeface="+mn-lt"/>
                <a:cs typeface="+mn-lt"/>
              </a:rPr>
              <a:t>AVG(grade) DESC</a:t>
            </a:r>
            <a:endParaRPr lang="en-US" u="sng"/>
          </a:p>
          <a:p>
            <a:pPr marL="179705" indent="-179705"/>
            <a:r>
              <a:rPr lang="en-US" u="sng">
                <a:ea typeface="+mn-lt"/>
                <a:cs typeface="+mn-lt"/>
              </a:rPr>
              <a:t>LIMIT</a:t>
            </a:r>
            <a:r>
              <a:rPr lang="en-US">
                <a:ea typeface="+mn-lt"/>
                <a:cs typeface="+mn-lt"/>
              </a:rPr>
              <a:t> 10</a:t>
            </a:r>
            <a:endParaRPr lang="en-US"/>
          </a:p>
          <a:p>
            <a:pPr marL="179705" indent="-179705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31A138D-0E67-04F4-1C43-9F4C1337DBB2}"/>
              </a:ext>
            </a:extLst>
          </p:cNvPr>
          <p:cNvSpPr txBox="1"/>
          <p:nvPr/>
        </p:nvSpPr>
        <p:spPr>
          <a:xfrm>
            <a:off x="4848446" y="2635546"/>
            <a:ext cx="3985879" cy="224676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Char char="•"/>
            </a:pPr>
            <a:r>
              <a:rPr lang="en-US" sz="1400">
                <a:latin typeface="Consolas"/>
                <a:cs typeface="Arial"/>
              </a:rPr>
              <a:t>SELECT</a:t>
            </a:r>
            <a:r>
              <a:rPr lang="en-US" sz="1400">
                <a:cs typeface="Arial"/>
              </a:rPr>
              <a:t> returns a result set​ containing the course name (=</a:t>
            </a:r>
            <a:r>
              <a:rPr lang="en-US" sz="1400">
                <a:latin typeface="Consolas"/>
                <a:cs typeface="Arial"/>
              </a:rPr>
              <a:t>course</a:t>
            </a:r>
            <a:r>
              <a:rPr lang="en-US" sz="1400">
                <a:cs typeface="Arial"/>
              </a:rPr>
              <a:t>) and the mean value of grades: </a:t>
            </a:r>
            <a:r>
              <a:rPr lang="en-US" sz="1400">
                <a:latin typeface="Consolas"/>
                <a:cs typeface="Arial"/>
              </a:rPr>
              <a:t>AVG(grade)</a:t>
            </a:r>
            <a:r>
              <a:rPr lang="en-US" sz="1400">
                <a:cs typeface="Arial"/>
              </a:rPr>
              <a:t> </a:t>
            </a:r>
          </a:p>
          <a:p>
            <a:pPr marL="285750" indent="-285750">
              <a:buChar char="•"/>
            </a:pPr>
            <a:r>
              <a:rPr lang="en-US" sz="1400">
                <a:latin typeface="Consolas"/>
                <a:cs typeface="Arial"/>
              </a:rPr>
              <a:t>FROM</a:t>
            </a:r>
            <a:r>
              <a:rPr lang="en-US" sz="1400">
                <a:cs typeface="Arial"/>
              </a:rPr>
              <a:t> indicates a table to </a:t>
            </a:r>
            <a:r>
              <a:rPr lang="en-US" sz="1400">
                <a:latin typeface="Consolas"/>
                <a:cs typeface="Arial"/>
              </a:rPr>
              <a:t>SELECT​:</a:t>
            </a:r>
            <a:r>
              <a:rPr lang="en-US" sz="1400">
                <a:latin typeface="Gill Sans Nova"/>
                <a:cs typeface="Arial"/>
              </a:rPr>
              <a:t> </a:t>
            </a:r>
            <a:r>
              <a:rPr lang="en-US" sz="1400">
                <a:latin typeface="Consolas"/>
                <a:cs typeface="Arial"/>
              </a:rPr>
              <a:t>persons</a:t>
            </a:r>
          </a:p>
          <a:p>
            <a:pPr marL="285750" indent="-285750">
              <a:buFont typeface="Arial"/>
              <a:buChar char="•"/>
            </a:pPr>
            <a:r>
              <a:rPr lang="en-US" sz="1400">
                <a:latin typeface="Gill Sans Nova"/>
                <a:cs typeface="Arial"/>
              </a:rPr>
              <a:t>The mean value of grades is per course: </a:t>
            </a:r>
            <a:r>
              <a:rPr lang="en-US" sz="1400">
                <a:latin typeface="Consolas"/>
                <a:cs typeface="Arial"/>
              </a:rPr>
              <a:t>GROUP BY COURSE</a:t>
            </a:r>
          </a:p>
          <a:p>
            <a:pPr marL="285750" indent="-285750">
              <a:buChar char="•"/>
            </a:pPr>
            <a:r>
              <a:rPr lang="en-US" sz="1400">
                <a:cs typeface="Arial"/>
              </a:rPr>
              <a:t>The result should be </a:t>
            </a:r>
            <a:r>
              <a:rPr lang="en-US" sz="1400" b="1" u="sng">
                <a:cs typeface="Arial"/>
              </a:rPr>
              <a:t>the ten best graded courses</a:t>
            </a:r>
            <a:r>
              <a:rPr lang="en-US" sz="1400">
                <a:cs typeface="Arial"/>
              </a:rPr>
              <a:t>, so it needs to be sorted in the </a:t>
            </a:r>
            <a:r>
              <a:rPr lang="en-US" sz="1400" b="1">
                <a:cs typeface="Arial"/>
              </a:rPr>
              <a:t>descending order</a:t>
            </a:r>
            <a:r>
              <a:rPr lang="en-US" sz="1400">
                <a:cs typeface="Arial"/>
              </a:rPr>
              <a:t> and </a:t>
            </a:r>
            <a:r>
              <a:rPr lang="en-US" sz="1400" b="1">
                <a:cs typeface="Arial"/>
              </a:rPr>
              <a:t>limited to 10 </a:t>
            </a:r>
            <a:r>
              <a:rPr lang="en-US" sz="1400">
                <a:cs typeface="Arial"/>
              </a:rPr>
              <a:t>records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C766FF7-B2CD-7549-7C54-7EE80AAA443C}"/>
              </a:ext>
            </a:extLst>
          </p:cNvPr>
          <p:cNvSpPr txBox="1"/>
          <p:nvPr/>
        </p:nvSpPr>
        <p:spPr>
          <a:xfrm>
            <a:off x="4828509" y="874528"/>
            <a:ext cx="2743200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/>
              <a:t>Answer:​</a:t>
            </a:r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2A441A1-8030-67BB-2D7B-A60FC9EA16DC}"/>
              </a:ext>
            </a:extLst>
          </p:cNvPr>
          <p:cNvSpPr/>
          <p:nvPr/>
        </p:nvSpPr>
        <p:spPr>
          <a:xfrm>
            <a:off x="4914837" y="1245703"/>
            <a:ext cx="2564650" cy="1176074"/>
          </a:xfrm>
          <a:prstGeom prst="rect">
            <a:avLst/>
          </a:prstGeom>
          <a:noFill/>
          <a:ln w="12700">
            <a:solidFill>
              <a:srgbClr val="00802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11783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1C058E9-CDB2-5401-7BE7-9AA096D8E3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Question 5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80C6F38-2113-9A7A-F8CA-DEA212660A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2066" y="879388"/>
            <a:ext cx="3826707" cy="2835989"/>
          </a:xfrm>
        </p:spPr>
        <p:txBody>
          <a:bodyPr vert="horz" lIns="0" tIns="0" rIns="0" bIns="0" rtlCol="0" anchor="t">
            <a:normAutofit fontScale="92500"/>
          </a:bodyPr>
          <a:lstStyle/>
          <a:p>
            <a:pPr marL="0" indent="0"/>
            <a:r>
              <a:rPr lang="en-US">
                <a:ea typeface="+mn-lt"/>
                <a:cs typeface="+mn-lt"/>
              </a:rPr>
              <a:t>In your database, you have at least the following five tables (same as in Assignment 07):</a:t>
            </a:r>
            <a:endParaRPr lang="en-US"/>
          </a:p>
          <a:p>
            <a:pPr marL="0" indent="0"/>
            <a:endParaRPr lang="en-US"/>
          </a:p>
          <a:p>
            <a:pPr marL="285750" indent="-285750">
              <a:buChar char="•"/>
            </a:pPr>
            <a:r>
              <a:rPr lang="en-US">
                <a:ea typeface="+mn-lt"/>
                <a:cs typeface="+mn-lt"/>
              </a:rPr>
              <a:t>students (id, </a:t>
            </a:r>
            <a:r>
              <a:rPr lang="en-US" err="1">
                <a:ea typeface="+mn-lt"/>
                <a:cs typeface="+mn-lt"/>
              </a:rPr>
              <a:t>first_name</a:t>
            </a:r>
            <a:r>
              <a:rPr lang="en-US">
                <a:ea typeface="+mn-lt"/>
                <a:cs typeface="+mn-lt"/>
              </a:rPr>
              <a:t>, </a:t>
            </a:r>
            <a:r>
              <a:rPr lang="en-US" err="1">
                <a:ea typeface="+mn-lt"/>
                <a:cs typeface="+mn-lt"/>
              </a:rPr>
              <a:t>last_name</a:t>
            </a:r>
            <a:r>
              <a:rPr lang="en-US">
                <a:ea typeface="+mn-lt"/>
                <a:cs typeface="+mn-lt"/>
              </a:rPr>
              <a:t>, </a:t>
            </a:r>
            <a:r>
              <a:rPr lang="en-US" err="1">
                <a:ea typeface="+mn-lt"/>
                <a:cs typeface="+mn-lt"/>
              </a:rPr>
              <a:t>date_of_birth</a:t>
            </a:r>
            <a:r>
              <a:rPr lang="en-US">
                <a:ea typeface="+mn-lt"/>
                <a:cs typeface="+mn-lt"/>
              </a:rPr>
              <a:t>)</a:t>
            </a:r>
            <a:endParaRPr lang="en-US"/>
          </a:p>
          <a:p>
            <a:pPr marL="285750" indent="-285750">
              <a:buChar char="•"/>
            </a:pPr>
            <a:r>
              <a:rPr lang="en-US">
                <a:ea typeface="+mn-lt"/>
                <a:cs typeface="+mn-lt"/>
              </a:rPr>
              <a:t>registrations (id, </a:t>
            </a:r>
            <a:r>
              <a:rPr lang="en-US" err="1">
                <a:ea typeface="+mn-lt"/>
                <a:cs typeface="+mn-lt"/>
              </a:rPr>
              <a:t>student_id</a:t>
            </a:r>
            <a:r>
              <a:rPr lang="en-US">
                <a:ea typeface="+mn-lt"/>
                <a:cs typeface="+mn-lt"/>
              </a:rPr>
              <a:t>, </a:t>
            </a:r>
            <a:r>
              <a:rPr lang="en-US" err="1">
                <a:ea typeface="+mn-lt"/>
                <a:cs typeface="+mn-lt"/>
              </a:rPr>
              <a:t>immatriculation</a:t>
            </a:r>
            <a:r>
              <a:rPr lang="en-US">
                <a:ea typeface="+mn-lt"/>
                <a:cs typeface="+mn-lt"/>
              </a:rPr>
              <a:t>, </a:t>
            </a:r>
            <a:r>
              <a:rPr lang="en-US" err="1">
                <a:ea typeface="+mn-lt"/>
                <a:cs typeface="+mn-lt"/>
              </a:rPr>
              <a:t>exmatriculation</a:t>
            </a:r>
            <a:r>
              <a:rPr lang="en-US">
                <a:ea typeface="+mn-lt"/>
                <a:cs typeface="+mn-lt"/>
              </a:rPr>
              <a:t>)</a:t>
            </a:r>
            <a:endParaRPr lang="en-US"/>
          </a:p>
          <a:p>
            <a:pPr marL="285750" indent="-285750">
              <a:buChar char="•"/>
            </a:pPr>
            <a:r>
              <a:rPr lang="en-US">
                <a:ea typeface="+mn-lt"/>
                <a:cs typeface="+mn-lt"/>
              </a:rPr>
              <a:t>courses (id, name, category)</a:t>
            </a:r>
            <a:endParaRPr lang="en-US"/>
          </a:p>
          <a:p>
            <a:pPr marL="285750" indent="-285750">
              <a:buChar char="•"/>
            </a:pPr>
            <a:r>
              <a:rPr lang="en-US">
                <a:ea typeface="+mn-lt"/>
                <a:cs typeface="+mn-lt"/>
              </a:rPr>
              <a:t>enrollments (id, </a:t>
            </a:r>
            <a:r>
              <a:rPr lang="en-US" err="1">
                <a:ea typeface="+mn-lt"/>
                <a:cs typeface="+mn-lt"/>
              </a:rPr>
              <a:t>student_id</a:t>
            </a:r>
            <a:r>
              <a:rPr lang="en-US">
                <a:ea typeface="+mn-lt"/>
                <a:cs typeface="+mn-lt"/>
              </a:rPr>
              <a:t>, </a:t>
            </a:r>
            <a:r>
              <a:rPr lang="en-US" err="1">
                <a:ea typeface="+mn-lt"/>
                <a:cs typeface="+mn-lt"/>
              </a:rPr>
              <a:t>course_id</a:t>
            </a:r>
            <a:r>
              <a:rPr lang="en-US">
                <a:ea typeface="+mn-lt"/>
                <a:cs typeface="+mn-lt"/>
              </a:rPr>
              <a:t>, semester)</a:t>
            </a:r>
            <a:endParaRPr lang="en-US"/>
          </a:p>
          <a:p>
            <a:pPr marL="285750" indent="-285750">
              <a:buChar char="•"/>
            </a:pPr>
            <a:r>
              <a:rPr lang="en-US">
                <a:ea typeface="+mn-lt"/>
                <a:cs typeface="+mn-lt"/>
              </a:rPr>
              <a:t>grades (id, </a:t>
            </a:r>
            <a:r>
              <a:rPr lang="en-US" err="1">
                <a:ea typeface="+mn-lt"/>
                <a:cs typeface="+mn-lt"/>
              </a:rPr>
              <a:t>enrollment_id</a:t>
            </a:r>
            <a:r>
              <a:rPr lang="en-US">
                <a:ea typeface="+mn-lt"/>
                <a:cs typeface="+mn-lt"/>
              </a:rPr>
              <a:t>, grade)</a:t>
            </a:r>
            <a:endParaRPr lang="en-US"/>
          </a:p>
          <a:p>
            <a:pPr marL="0" indent="0"/>
            <a:endParaRPr lang="en-US"/>
          </a:p>
          <a:p>
            <a:pPr marL="0" indent="0"/>
            <a:r>
              <a:rPr lang="en-US">
                <a:ea typeface="+mn-lt"/>
                <a:cs typeface="+mn-lt"/>
              </a:rPr>
              <a:t>Which one of the following queries returns all students that have a grade better than 5 (which numerically is greater than 5) in the course 'Fundamentals of Space-Time-Travel'?</a:t>
            </a:r>
            <a:endParaRPr lang="en-US"/>
          </a:p>
          <a:p>
            <a:pPr marL="0" indent="0"/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BC4A593-5BB9-3B4A-5874-1FF868558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11</a:t>
            </a:fld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C766FF7-B2CD-7549-7C54-7EE80AAA443C}"/>
              </a:ext>
            </a:extLst>
          </p:cNvPr>
          <p:cNvSpPr txBox="1"/>
          <p:nvPr/>
        </p:nvSpPr>
        <p:spPr>
          <a:xfrm>
            <a:off x="4283591" y="828011"/>
            <a:ext cx="2743200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/>
              <a:t>Answer:​</a:t>
            </a:r>
            <a:endParaRPr lang="en-US"/>
          </a:p>
        </p:txBody>
      </p:sp>
      <p:pic>
        <p:nvPicPr>
          <p:cNvPr id="5" name="Picture 4" descr="A screen shot of a computer code&#10;&#10;Description automatically generated">
            <a:extLst>
              <a:ext uri="{FF2B5EF4-FFF2-40B4-BE49-F238E27FC236}">
                <a16:creationId xmlns:a16="http://schemas.microsoft.com/office/drawing/2014/main" id="{CB204F88-4F7C-71D8-C1B4-138FFB90E8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2831" y="1206955"/>
            <a:ext cx="4778005" cy="227106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F4575FC-16E1-A751-674D-58F695D99E40}"/>
              </a:ext>
            </a:extLst>
          </p:cNvPr>
          <p:cNvSpPr txBox="1"/>
          <p:nvPr/>
        </p:nvSpPr>
        <p:spPr>
          <a:xfrm>
            <a:off x="4336755" y="3472859"/>
            <a:ext cx="4590606" cy="138499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400">
                <a:latin typeface="Gill Sans Nova"/>
                <a:cs typeface="Arial"/>
              </a:rPr>
              <a:t>JOIN the tables ON the corresponding foreign keys</a:t>
            </a:r>
          </a:p>
          <a:p>
            <a:pPr marL="285750" indent="-285750">
              <a:buFont typeface="Arial"/>
              <a:buChar char="•"/>
            </a:pPr>
            <a:r>
              <a:rPr lang="en-US" sz="1400">
                <a:latin typeface="Gill Sans Nova"/>
                <a:cs typeface="Arial"/>
              </a:rPr>
              <a:t>Filter the records by</a:t>
            </a:r>
          </a:p>
          <a:p>
            <a:pPr marL="628650" lvl="1" indent="-285750">
              <a:buFont typeface="Arial"/>
              <a:buChar char="•"/>
            </a:pPr>
            <a:r>
              <a:rPr lang="en-US" sz="1400">
                <a:latin typeface="Gill Sans Nova"/>
                <a:cs typeface="Arial"/>
              </a:rPr>
              <a:t>The grade is better than 5</a:t>
            </a:r>
          </a:p>
          <a:p>
            <a:pPr marL="628650" lvl="1" indent="-285750">
              <a:buFont typeface="Arial"/>
              <a:buChar char="•"/>
            </a:pPr>
            <a:r>
              <a:rPr lang="en-US" sz="1400">
                <a:latin typeface="Gill Sans Nova"/>
                <a:cs typeface="Arial"/>
              </a:rPr>
              <a:t>The course name is '</a:t>
            </a:r>
            <a:r>
              <a:rPr lang="en-US" sz="1400">
                <a:ea typeface="+mn-lt"/>
                <a:cs typeface="+mn-lt"/>
              </a:rPr>
              <a:t>Fundamentals of Space-Time-Travel</a:t>
            </a:r>
            <a:r>
              <a:rPr lang="en-US" sz="1400">
                <a:latin typeface="Gill Sans Nova"/>
                <a:cs typeface="Arial"/>
              </a:rPr>
              <a:t>'</a:t>
            </a:r>
          </a:p>
          <a:p>
            <a:r>
              <a:rPr lang="en-US" sz="1400">
                <a:latin typeface="Gill Sans Nova"/>
                <a:cs typeface="Arial"/>
              </a:rPr>
              <a:t>  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8418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1C058E9-CDB2-5401-7BE7-9AA096D8E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210104"/>
            <a:ext cx="8426450" cy="609662"/>
          </a:xfrm>
        </p:spPr>
        <p:txBody>
          <a:bodyPr/>
          <a:lstStyle/>
          <a:p>
            <a:r>
              <a:rPr lang="de-DE"/>
              <a:t>Question 6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80C6F38-2113-9A7A-F8CA-DEA212660A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775" y="593639"/>
            <a:ext cx="8471803" cy="4075527"/>
          </a:xfrm>
        </p:spPr>
        <p:txBody>
          <a:bodyPr vert="horz" lIns="0" tIns="0" rIns="0" bIns="0" rtlCol="0" anchor="t">
            <a:normAutofit fontScale="77500" lnSpcReduction="20000"/>
          </a:bodyPr>
          <a:lstStyle/>
          <a:p>
            <a:pPr marL="179705" indent="-179705"/>
            <a:r>
              <a:rPr lang="en-US">
                <a:ea typeface="+mn-lt"/>
                <a:cs typeface="+mn-lt"/>
              </a:rPr>
              <a:t>You have an SQL-compatible relational database system. Please mark all correct answers for this context.</a:t>
            </a:r>
          </a:p>
          <a:p>
            <a:pPr marL="179705" indent="-179705"/>
            <a:endParaRPr lang="en-US">
              <a:ea typeface="+mn-lt"/>
              <a:cs typeface="+mn-lt"/>
            </a:endParaRPr>
          </a:p>
          <a:p>
            <a:pPr marL="285750" indent="-285750">
              <a:spcAft>
                <a:spcPts val="100"/>
              </a:spcAft>
              <a:buFont typeface="Wingdings" panose="020B0604020202020204" pitchFamily="34" charset="0"/>
              <a:buChar char="q"/>
            </a:pPr>
            <a:r>
              <a:rPr lang="en-US">
                <a:ea typeface="+mn-lt"/>
                <a:cs typeface="+mn-lt"/>
              </a:rPr>
              <a:t>The query `</a:t>
            </a:r>
            <a:r>
              <a:rPr lang="en-US" b="1">
                <a:latin typeface="Consolas"/>
                <a:ea typeface="+mn-lt"/>
                <a:cs typeface="+mn-lt"/>
              </a:rPr>
              <a:t>SELECT DISTINCT * FROM</a:t>
            </a:r>
            <a:r>
              <a:rPr lang="en-US">
                <a:ea typeface="+mn-lt"/>
                <a:cs typeface="+mn-lt"/>
              </a:rPr>
              <a:t>` </a:t>
            </a:r>
            <a:r>
              <a:rPr lang="en-US" err="1">
                <a:ea typeface="+mn-lt"/>
                <a:cs typeface="+mn-lt"/>
              </a:rPr>
              <a:t>tablename</a:t>
            </a:r>
            <a:r>
              <a:rPr lang="en-US">
                <a:ea typeface="+mn-lt"/>
                <a:cs typeface="+mn-lt"/>
              </a:rPr>
              <a:t> of a table `</a:t>
            </a:r>
            <a:r>
              <a:rPr lang="en-US" b="1" err="1">
                <a:latin typeface="Consolas"/>
                <a:ea typeface="+mn-lt"/>
                <a:cs typeface="+mn-lt"/>
              </a:rPr>
              <a:t>tablename</a:t>
            </a:r>
            <a:r>
              <a:rPr lang="en-US">
                <a:ea typeface="+mn-lt"/>
                <a:cs typeface="+mn-lt"/>
              </a:rPr>
              <a:t>` always returns fewer tuples than the query `</a:t>
            </a:r>
            <a:r>
              <a:rPr lang="en-US" b="1">
                <a:latin typeface="Consolas"/>
                <a:ea typeface="+mn-lt"/>
                <a:cs typeface="+mn-lt"/>
              </a:rPr>
              <a:t>SELECT * FROM </a:t>
            </a:r>
            <a:r>
              <a:rPr lang="en-US" b="1" err="1">
                <a:latin typeface="Consolas"/>
                <a:ea typeface="+mn-lt"/>
                <a:cs typeface="+mn-lt"/>
              </a:rPr>
              <a:t>tablename</a:t>
            </a:r>
            <a:r>
              <a:rPr lang="en-US">
                <a:ea typeface="+mn-lt"/>
                <a:cs typeface="+mn-lt"/>
              </a:rPr>
              <a:t>` of the same table.</a:t>
            </a:r>
          </a:p>
          <a:p>
            <a:pPr marL="464820" lvl="1" indent="-285750">
              <a:spcAft>
                <a:spcPts val="100"/>
              </a:spcAft>
              <a:buFont typeface="Wingdings" panose="020B0604020202020204" pitchFamily="34" charset="0"/>
              <a:buChar char="Ø"/>
            </a:pPr>
            <a:r>
              <a:rPr lang="en-US">
                <a:solidFill>
                  <a:srgbClr val="C00000"/>
                </a:solidFill>
                <a:ea typeface="+mn-lt"/>
                <a:cs typeface="+mn-lt"/>
              </a:rPr>
              <a:t>If the table _only_ contains unique (distinct) entries, the result will be the same.</a:t>
            </a:r>
            <a:endParaRPr lang="en-US">
              <a:ea typeface="+mn-lt"/>
              <a:cs typeface="+mn-lt"/>
            </a:endParaRPr>
          </a:p>
          <a:p>
            <a:pPr marL="464820" lvl="1" indent="-285750">
              <a:spcAft>
                <a:spcPts val="100"/>
              </a:spcAft>
              <a:buFont typeface="Wingdings" panose="020B0604020202020204" pitchFamily="34" charset="0"/>
              <a:buChar char="Ø"/>
            </a:pPr>
            <a:endParaRPr lang="en-US">
              <a:solidFill>
                <a:srgbClr val="C00000"/>
              </a:solidFill>
              <a:ea typeface="+mn-lt"/>
              <a:cs typeface="+mn-lt"/>
            </a:endParaRPr>
          </a:p>
          <a:p>
            <a:pPr marL="285750" indent="-285750">
              <a:spcAft>
                <a:spcPts val="100"/>
              </a:spcAft>
              <a:buFont typeface="Wingdings" panose="020B0604020202020204" pitchFamily="34" charset="0"/>
              <a:buChar char="ü"/>
            </a:pPr>
            <a:r>
              <a:rPr lang="en-US">
                <a:ea typeface="+mn-lt"/>
                <a:cs typeface="+mn-lt"/>
              </a:rPr>
              <a:t>If a database with exactly three tables has </a:t>
            </a:r>
            <a:r>
              <a:rPr lang="en-US" i="1">
                <a:ea typeface="+mn-lt"/>
                <a:cs typeface="+mn-lt"/>
              </a:rPr>
              <a:t>composite primary keys</a:t>
            </a:r>
            <a:r>
              <a:rPr lang="en-US">
                <a:ea typeface="+mn-lt"/>
                <a:cs typeface="+mn-lt"/>
              </a:rPr>
              <a:t> in each of these tables, then the database does NOT necessarily have to have </a:t>
            </a:r>
            <a:r>
              <a:rPr lang="en-US" i="1">
                <a:ea typeface="+mn-lt"/>
                <a:cs typeface="+mn-lt"/>
              </a:rPr>
              <a:t>foreign keys</a:t>
            </a:r>
            <a:r>
              <a:rPr lang="en-US">
                <a:ea typeface="+mn-lt"/>
                <a:cs typeface="+mn-lt"/>
              </a:rPr>
              <a:t>.</a:t>
            </a:r>
          </a:p>
          <a:p>
            <a:pPr marL="464820" lvl="1" indent="-285750">
              <a:spcAft>
                <a:spcPts val="100"/>
              </a:spcAft>
              <a:buFont typeface="Wingdings" panose="020B0604020202020204" pitchFamily="34" charset="0"/>
              <a:buChar char="Ø"/>
            </a:pPr>
            <a:r>
              <a:rPr lang="en-US">
                <a:solidFill>
                  <a:srgbClr val="00802F"/>
                </a:solidFill>
                <a:ea typeface="+mn-lt"/>
                <a:cs typeface="+mn-lt"/>
              </a:rPr>
              <a:t>Since the three tables already have the composite primary keys, the entries across the tables can be referenced based on the keys without explicitly defining foreign keys.</a:t>
            </a:r>
            <a:endParaRPr lang="en-US"/>
          </a:p>
          <a:p>
            <a:pPr marL="464820" lvl="1" indent="-285750">
              <a:spcAft>
                <a:spcPts val="100"/>
              </a:spcAft>
              <a:buFont typeface="Wingdings" panose="020B0604020202020204" pitchFamily="34" charset="0"/>
              <a:buChar char="Ø"/>
            </a:pPr>
            <a:endParaRPr lang="en-US">
              <a:solidFill>
                <a:srgbClr val="00802F"/>
              </a:solidFill>
              <a:ea typeface="+mn-lt"/>
              <a:cs typeface="+mn-lt"/>
            </a:endParaRPr>
          </a:p>
          <a:p>
            <a:pPr marL="285750" indent="-285750">
              <a:spcAft>
                <a:spcPts val="100"/>
              </a:spcAft>
              <a:buFont typeface="Wingdings" panose="020B0604020202020204" pitchFamily="34" charset="0"/>
              <a:buChar char="ü"/>
            </a:pPr>
            <a:r>
              <a:rPr lang="en-US">
                <a:ea typeface="+mn-lt"/>
                <a:cs typeface="+mn-lt"/>
              </a:rPr>
              <a:t>SQL injections never help to keep SQL queries performant, even if they are implemented in Python, which is otherwise known for its rather slow execution.</a:t>
            </a:r>
          </a:p>
          <a:p>
            <a:pPr marL="464820" lvl="1" indent="-285750">
              <a:spcAft>
                <a:spcPts val="100"/>
              </a:spcAft>
              <a:buFont typeface="Wingdings,Sans-Serif" panose="020B0604020202020204" pitchFamily="34" charset="0"/>
              <a:buChar char="Ø"/>
            </a:pPr>
            <a:r>
              <a:rPr lang="en-US">
                <a:solidFill>
                  <a:srgbClr val="00802F"/>
                </a:solidFill>
                <a:ea typeface="+mn-lt"/>
                <a:cs typeface="+mn-lt"/>
              </a:rPr>
              <a:t>SQL injection is known as a common malicious technique to execute SQL queries often via web page input. It is totally irrelevant to the performance of SQL queries.</a:t>
            </a:r>
            <a:endParaRPr lang="en-US"/>
          </a:p>
          <a:p>
            <a:pPr marL="464820" lvl="1" indent="-285750">
              <a:spcAft>
                <a:spcPts val="100"/>
              </a:spcAft>
              <a:buFont typeface="Wingdings,Sans-Serif" panose="020B0604020202020204" pitchFamily="34" charset="0"/>
              <a:buChar char="Ø"/>
            </a:pPr>
            <a:endParaRPr lang="en-US">
              <a:solidFill>
                <a:srgbClr val="00802F"/>
              </a:solidFill>
              <a:ea typeface="+mn-lt"/>
              <a:cs typeface="+mn-lt"/>
            </a:endParaRPr>
          </a:p>
          <a:p>
            <a:pPr marL="285750" indent="-285750">
              <a:spcAft>
                <a:spcPts val="100"/>
              </a:spcAft>
              <a:buFont typeface="Wingdings" panose="020B0604020202020204" pitchFamily="34" charset="0"/>
              <a:buChar char="q"/>
            </a:pPr>
            <a:r>
              <a:rPr lang="en-US">
                <a:ea typeface="+mn-lt"/>
                <a:cs typeface="+mn-lt"/>
              </a:rPr>
              <a:t>Tables `</a:t>
            </a:r>
            <a:r>
              <a:rPr lang="en-US" b="1">
                <a:latin typeface="Consolas"/>
                <a:ea typeface="+mn-lt"/>
                <a:cs typeface="+mn-lt"/>
              </a:rPr>
              <a:t>A</a:t>
            </a:r>
            <a:r>
              <a:rPr lang="en-US">
                <a:ea typeface="+mn-lt"/>
                <a:cs typeface="+mn-lt"/>
              </a:rPr>
              <a:t>` and `</a:t>
            </a:r>
            <a:r>
              <a:rPr lang="en-US" b="1">
                <a:latin typeface="Consolas"/>
                <a:ea typeface="+mn-lt"/>
                <a:cs typeface="+mn-lt"/>
              </a:rPr>
              <a:t>B</a:t>
            </a:r>
            <a:r>
              <a:rPr lang="en-US">
                <a:ea typeface="+mn-lt"/>
                <a:cs typeface="+mn-lt"/>
              </a:rPr>
              <a:t>` each contain three tuples. Then the SQL query `</a:t>
            </a:r>
            <a:r>
              <a:rPr lang="en-US" b="1">
                <a:latin typeface="Consolas"/>
                <a:ea typeface="+mn-lt"/>
                <a:cs typeface="+mn-lt"/>
              </a:rPr>
              <a:t>SELECT * FROM A INNER JOIN B</a:t>
            </a:r>
            <a:r>
              <a:rPr lang="en-US">
                <a:ea typeface="+mn-lt"/>
                <a:cs typeface="+mn-lt"/>
              </a:rPr>
              <a:t>` also returns exactly three tuples.</a:t>
            </a:r>
          </a:p>
          <a:p>
            <a:pPr marL="464820" lvl="1" indent="-285750">
              <a:spcAft>
                <a:spcPts val="100"/>
              </a:spcAft>
              <a:buFont typeface="Wingdings,Sans-Serif" panose="020B0604020202020204" pitchFamily="34" charset="0"/>
              <a:buChar char="Ø"/>
            </a:pPr>
            <a:r>
              <a:rPr lang="en-US">
                <a:solidFill>
                  <a:srgbClr val="C00000"/>
                </a:solidFill>
                <a:ea typeface="+mn-lt"/>
                <a:cs typeface="+mn-lt"/>
              </a:rPr>
              <a:t>Without specifying a key to join by `ON` clause, the query returns `3 * 3 = 9` tuples.</a:t>
            </a:r>
            <a:endParaRPr lang="en-US">
              <a:ea typeface="+mn-lt"/>
              <a:cs typeface="+mn-lt"/>
            </a:endParaRPr>
          </a:p>
          <a:p>
            <a:pPr marL="464820" lvl="1" indent="-285750">
              <a:spcAft>
                <a:spcPts val="100"/>
              </a:spcAft>
              <a:buFont typeface="Wingdings,Sans-Serif" panose="020B0604020202020204" pitchFamily="34" charset="0"/>
              <a:buChar char="Ø"/>
            </a:pPr>
            <a:endParaRPr lang="en-US">
              <a:solidFill>
                <a:srgbClr val="C00000"/>
              </a:solidFill>
              <a:ea typeface="+mn-lt"/>
              <a:cs typeface="+mn-lt"/>
            </a:endParaRPr>
          </a:p>
          <a:p>
            <a:pPr marL="285750" indent="-285750">
              <a:spcAft>
                <a:spcPts val="100"/>
              </a:spcAft>
              <a:buFont typeface="Wingdings" panose="020B0604020202020204" pitchFamily="34" charset="0"/>
              <a:buChar char="ü"/>
            </a:pPr>
            <a:r>
              <a:rPr lang="en-US">
                <a:ea typeface="+mn-lt"/>
                <a:cs typeface="+mn-lt"/>
              </a:rPr>
              <a:t>The number of tuples returned by a `</a:t>
            </a:r>
            <a:r>
              <a:rPr lang="en-US" b="1">
                <a:latin typeface="Consolas"/>
                <a:ea typeface="+mn-lt"/>
                <a:cs typeface="+mn-lt"/>
              </a:rPr>
              <a:t>SELECT</a:t>
            </a:r>
            <a:r>
              <a:rPr lang="en-US">
                <a:ea typeface="+mn-lt"/>
                <a:cs typeface="+mn-lt"/>
              </a:rPr>
              <a:t>` query is always independent of which storage engine is used according to the ANSI-SPARC model.</a:t>
            </a:r>
          </a:p>
          <a:p>
            <a:pPr marL="464820" lvl="1" indent="-285750">
              <a:spcAft>
                <a:spcPts val="100"/>
              </a:spcAft>
              <a:buFont typeface="Wingdings,Sans-Serif" panose="020B0604020202020204" pitchFamily="34" charset="0"/>
              <a:buChar char="Ø"/>
            </a:pPr>
            <a:r>
              <a:rPr lang="en-US">
                <a:solidFill>
                  <a:srgbClr val="00802F"/>
                </a:solidFill>
                <a:ea typeface="+mn-lt"/>
                <a:cs typeface="+mn-lt"/>
              </a:rPr>
              <a:t>The number of tuples returned by a `SELECT` query depends on the query statement or the model of the database but not on the implementation ("storage engine").</a:t>
            </a:r>
            <a:endParaRPr lang="en-US"/>
          </a:p>
          <a:p>
            <a:pPr marL="464820" lvl="1" indent="-285750">
              <a:spcAft>
                <a:spcPts val="100"/>
              </a:spcAft>
              <a:buFont typeface="Wingdings,Sans-Serif" panose="020B0604020202020204" pitchFamily="34" charset="0"/>
              <a:buChar char="Ø"/>
            </a:pPr>
            <a:endParaRPr lang="en-US">
              <a:solidFill>
                <a:srgbClr val="00802F"/>
              </a:solidFill>
              <a:ea typeface="+mn-lt"/>
              <a:cs typeface="+mn-lt"/>
            </a:endParaRPr>
          </a:p>
          <a:p>
            <a:pPr marL="285750" indent="-285750">
              <a:spcAft>
                <a:spcPts val="100"/>
              </a:spcAft>
              <a:buFont typeface="Wingdings" panose="020B0604020202020204" pitchFamily="34" charset="0"/>
              <a:buChar char="q"/>
            </a:pPr>
            <a:r>
              <a:rPr lang="en-US">
                <a:ea typeface="+mn-lt"/>
                <a:cs typeface="+mn-lt"/>
              </a:rPr>
              <a:t>A database contains the table `</a:t>
            </a:r>
            <a:r>
              <a:rPr lang="en-US" b="1">
                <a:latin typeface="Consolas"/>
                <a:ea typeface="+mn-lt"/>
                <a:cs typeface="+mn-lt"/>
              </a:rPr>
              <a:t>courses</a:t>
            </a:r>
            <a:r>
              <a:rPr lang="en-US">
                <a:ea typeface="+mn-lt"/>
                <a:cs typeface="+mn-lt"/>
              </a:rPr>
              <a:t>`. The SQL query `</a:t>
            </a:r>
            <a:r>
              <a:rPr lang="en-US" b="1">
                <a:latin typeface="Consolas"/>
                <a:ea typeface="+mn-lt"/>
                <a:cs typeface="+mn-lt"/>
              </a:rPr>
              <a:t>SELECT * FROM courses LIMIT 10</a:t>
            </a:r>
            <a:r>
              <a:rPr lang="en-US">
                <a:ea typeface="+mn-lt"/>
                <a:cs typeface="+mn-lt"/>
              </a:rPr>
              <a:t>` always returns exactly 10 tuples.</a:t>
            </a:r>
          </a:p>
          <a:p>
            <a:pPr marL="464820" lvl="1" indent="-285750">
              <a:spcAft>
                <a:spcPts val="100"/>
              </a:spcAft>
              <a:buFont typeface="Wingdings,Sans-Serif" panose="020B0604020202020204" pitchFamily="34" charset="0"/>
              <a:buChar char="Ø"/>
            </a:pPr>
            <a:r>
              <a:rPr lang="en-US" sz="1300">
                <a:solidFill>
                  <a:srgbClr val="C00000"/>
                </a:solidFill>
                <a:ea typeface="+mn-lt"/>
                <a:cs typeface="+mn-lt"/>
              </a:rPr>
              <a:t>If the table `courses` has less than 10 entries, then it won't return 10 tuples.</a:t>
            </a:r>
            <a:endParaRPr lang="en-US">
              <a:ea typeface="+mn-lt"/>
              <a:cs typeface="+mn-lt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BC4A593-5BB9-3B4A-5874-1FF868558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93364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2FE6CED-A003-2F24-9759-570ACBCD6C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43738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2FE6CED-A003-2F24-9759-570ACBCD6C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92E3E48-FF8A-5E4C-67CC-8B0608A09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8000" y="1946961"/>
            <a:ext cx="7237225" cy="2496171"/>
          </a:xfrm>
        </p:spPr>
        <p:txBody>
          <a:bodyPr vert="horz">
            <a:normAutofit fontScale="90000"/>
          </a:bodyPr>
          <a:lstStyle/>
          <a:p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3. Brief summary of skills necessary to solve assignment 8</a:t>
            </a:r>
            <a:br>
              <a:rPr lang="en-GB"/>
            </a:br>
            <a:br>
              <a:rPr lang="en-GB"/>
            </a:b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170505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6EA407A-0B5B-9B6F-C9D4-877962AE18C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de-CH" dirty="0" err="1"/>
              <a:t>Jupyter</a:t>
            </a:r>
            <a:r>
              <a:rPr lang="de-CH" dirty="0"/>
              <a:t> Notebook</a:t>
            </a:r>
          </a:p>
          <a:p>
            <a:r>
              <a:rPr lang="de-CH" dirty="0" err="1"/>
              <a:t>Introduction</a:t>
            </a:r>
            <a:r>
              <a:rPr lang="de-CH" dirty="0"/>
              <a:t> to </a:t>
            </a:r>
            <a:r>
              <a:rPr lang="de-CH" dirty="0" err="1"/>
              <a:t>DataScience</a:t>
            </a:r>
            <a:endParaRPr lang="de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798E7F-D0FE-57B3-4521-9426C485AA3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sz="2800" i="1" dirty="0"/>
              <a:t>To </a:t>
            </a:r>
            <a:r>
              <a:rPr lang="de-CH" sz="2800" i="1" dirty="0" err="1"/>
              <a:t>read</a:t>
            </a:r>
            <a:r>
              <a:rPr lang="de-CH" sz="2800" i="1" dirty="0"/>
              <a:t> </a:t>
            </a:r>
            <a:r>
              <a:rPr lang="de-CH" sz="2800" i="1" dirty="0" err="1"/>
              <a:t>up</a:t>
            </a:r>
            <a:endParaRPr lang="en-GB" sz="2800" i="1" dirty="0"/>
          </a:p>
        </p:txBody>
      </p:sp>
    </p:spTree>
    <p:extLst>
      <p:ext uri="{BB962C8B-B14F-4D97-AF65-F5344CB8AC3E}">
        <p14:creationId xmlns:p14="http://schemas.microsoft.com/office/powerpoint/2010/main" val="24476921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6EA407A-0B5B-9B6F-C9D4-877962AE18C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CH" dirty="0" err="1"/>
              <a:t>Exercise</a:t>
            </a:r>
            <a:r>
              <a:rPr lang="de-CH" dirty="0"/>
              <a:t> 8: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798E7F-D0FE-57B3-4521-9426C485AA3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7999" y="3548063"/>
            <a:ext cx="7661093" cy="931862"/>
          </a:xfrm>
        </p:spPr>
        <p:txBody>
          <a:bodyPr/>
          <a:lstStyle/>
          <a:p>
            <a:r>
              <a:rPr lang="en-GB" sz="2800" i="1" dirty="0"/>
              <a:t>Let’s solve the exercise together…</a:t>
            </a:r>
          </a:p>
          <a:p>
            <a:r>
              <a:rPr lang="en-GB" sz="2800" i="1" dirty="0"/>
              <a:t>…to enable you to solve the assignment on your own!</a:t>
            </a:r>
          </a:p>
          <a:p>
            <a:endParaRPr lang="en-GB" sz="2800" i="1" dirty="0"/>
          </a:p>
        </p:txBody>
      </p:sp>
    </p:spTree>
    <p:extLst>
      <p:ext uri="{BB962C8B-B14F-4D97-AF65-F5344CB8AC3E}">
        <p14:creationId xmlns:p14="http://schemas.microsoft.com/office/powerpoint/2010/main" val="229943262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ADA6DF-7210-51C0-FF3B-4ADB643A42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16</a:t>
            </a:fld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666E8F7-8B25-B437-131E-F8882B62E1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587193"/>
            <a:ext cx="8426450" cy="609662"/>
          </a:xfrm>
        </p:spPr>
        <p:txBody>
          <a:bodyPr/>
          <a:lstStyle/>
          <a:p>
            <a:r>
              <a:rPr lang="en-GB"/>
              <a:t>3.1. pandas – A crucial python library for data science</a:t>
            </a:r>
            <a:br>
              <a:rPr lang="en-GB"/>
            </a:br>
            <a:endParaRPr lang="en-GB"/>
          </a:p>
        </p:txBody>
      </p:sp>
      <p:sp>
        <p:nvSpPr>
          <p:cNvPr id="2" name="Inhaltsplatzhalter 2">
            <a:extLst>
              <a:ext uri="{FF2B5EF4-FFF2-40B4-BE49-F238E27FC236}">
                <a16:creationId xmlns:a16="http://schemas.microsoft.com/office/drawing/2014/main" id="{DF770251-C66F-37B2-FA29-31FE5C0380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734" y="1162364"/>
            <a:ext cx="7864503" cy="3186999"/>
          </a:xfrm>
        </p:spPr>
        <p:txBody>
          <a:bodyPr>
            <a:norm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>
                <a:hlinkClick r:id="rId2"/>
              </a:rPr>
              <a:t>pandas</a:t>
            </a:r>
            <a:r>
              <a:rPr lang="en-US"/>
              <a:t> is a fast, powerful, flexible and easy-to-use open-source data analysis and data manipulation tool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/>
              <a:t>The pandas library has functions for:</a:t>
            </a:r>
          </a:p>
          <a:p>
            <a:pPr lvl="3">
              <a:spcAft>
                <a:spcPts val="1200"/>
              </a:spcAft>
            </a:pPr>
            <a:r>
              <a:rPr lang="en-US"/>
              <a:t>Analyzing data </a:t>
            </a:r>
          </a:p>
          <a:p>
            <a:pPr lvl="3">
              <a:spcAft>
                <a:spcPts val="1200"/>
              </a:spcAft>
            </a:pPr>
            <a:r>
              <a:rPr lang="en-US"/>
              <a:t>Cleaning data </a:t>
            </a:r>
          </a:p>
          <a:p>
            <a:pPr lvl="3">
              <a:spcAft>
                <a:spcPts val="1200"/>
              </a:spcAft>
            </a:pPr>
            <a:r>
              <a:rPr lang="en-US"/>
              <a:t>Exploring data</a:t>
            </a:r>
          </a:p>
          <a:p>
            <a:pPr lvl="3">
              <a:spcAft>
                <a:spcPts val="1200"/>
              </a:spcAft>
            </a:pPr>
            <a:r>
              <a:rPr lang="en-US"/>
              <a:t>Manipulating data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/>
              <a:t>The name pandas references to both "Panel Data" and/or "Python Data Analysis" 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/>
              <a:t>Panel data is in general two-dimensional data that can be represented using tables or more precisely pandas </a:t>
            </a:r>
            <a:r>
              <a:rPr lang="en-US">
                <a:latin typeface="Monaco" pitchFamily="2" charset="77"/>
                <a:hlinkClick r:id="rId3"/>
              </a:rPr>
              <a:t>DatafFrame</a:t>
            </a: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641BA0E1-8D6C-A9CA-73FE-3B2AE7D021E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2738" y="350910"/>
            <a:ext cx="8425656" cy="290450"/>
          </a:xfrm>
        </p:spPr>
        <p:txBody>
          <a:bodyPr>
            <a:normAutofit fontScale="32500" lnSpcReduction="20000"/>
          </a:bodyPr>
          <a:lstStyle/>
          <a:p>
            <a:r>
              <a:rPr lang="de-DE" sz="4600"/>
              <a:t>3. </a:t>
            </a:r>
            <a:r>
              <a:rPr lang="en-GB" sz="4600"/>
              <a:t>Hints and relevant concepts for the tasks of Assignment 8</a:t>
            </a:r>
          </a:p>
          <a:p>
            <a:r>
              <a:rPr lang="de-DE"/>
              <a:t> 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51607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6CACAD-078B-720D-72AB-F2A4DBBAC0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813" y="632673"/>
            <a:ext cx="8426450" cy="609662"/>
          </a:xfrm>
        </p:spPr>
        <p:txBody>
          <a:bodyPr/>
          <a:lstStyle/>
          <a:p>
            <a:r>
              <a:rPr lang="de-DE"/>
              <a:t>3.2. </a:t>
            </a:r>
            <a:r>
              <a:rPr lang="en-GB"/>
              <a:t>How to import data with pandas (1)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924E04-C83C-07B8-D3CD-9031D995400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17</a:t>
            </a:fld>
            <a:endParaRPr lang="en-GB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C5AD7B3-CE77-7B22-04C2-044A78E92A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70287"/>
            <a:ext cx="7848600" cy="1682529"/>
          </a:xfrm>
        </p:spPr>
        <p:txBody>
          <a:bodyPr>
            <a:norm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/>
              <a:t>In order to analyze data with pandas and to work with </a:t>
            </a:r>
            <a:r>
              <a:rPr lang="en-US" err="1">
                <a:hlinkClick r:id="rId2"/>
              </a:rPr>
              <a:t>DataFrame</a:t>
            </a:r>
            <a:r>
              <a:rPr lang="en-US"/>
              <a:t>, we must “import” </a:t>
            </a:r>
            <a:br>
              <a:rPr lang="en-US"/>
            </a:br>
            <a:r>
              <a:rPr lang="en-US"/>
              <a:t>data in the first step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/>
              <a:t>The pandas library provides </a:t>
            </a:r>
            <a:r>
              <a:rPr lang="en-US">
                <a:hlinkClick r:id="rId3"/>
              </a:rPr>
              <a:t>class methods </a:t>
            </a:r>
            <a:r>
              <a:rPr lang="en-US"/>
              <a:t>to import data</a:t>
            </a:r>
          </a:p>
          <a:p>
            <a:pPr marL="464525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/>
              <a:t>E.g., </a:t>
            </a:r>
            <a:r>
              <a:rPr lang="en-US">
                <a:latin typeface="Monaco" pitchFamily="2" charset="77"/>
                <a:hlinkClick r:id="rId4"/>
              </a:rPr>
              <a:t>pd.read_csv(&lt;path to a csv file to import as DataFrame&gt;)</a:t>
            </a:r>
            <a:endParaRPr lang="en-US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/>
              <a:t>Note that we often import the pandas library </a:t>
            </a:r>
            <a:r>
              <a:rPr lang="en-US">
                <a:latin typeface="Monaco" pitchFamily="2" charset="77"/>
              </a:rPr>
              <a:t>as pd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/>
              <a:t>For the rest of the slide, we use the dataset “</a:t>
            </a:r>
            <a:r>
              <a:rPr lang="en-US">
                <a:hlinkClick r:id="rId5"/>
              </a:rPr>
              <a:t>Crimes in Boston</a:t>
            </a:r>
            <a:r>
              <a:rPr lang="en-US"/>
              <a:t>”</a:t>
            </a:r>
          </a:p>
          <a:p>
            <a:pPr>
              <a:spcAft>
                <a:spcPts val="600"/>
              </a:spcAft>
            </a:pPr>
            <a:endParaRPr lang="en-US">
              <a:latin typeface="Monaco" pitchFamily="2" charset="77"/>
            </a:endParaRPr>
          </a:p>
        </p:txBody>
      </p:sp>
      <p:pic>
        <p:nvPicPr>
          <p:cNvPr id="4" name="Grafik 13">
            <a:extLst>
              <a:ext uri="{FF2B5EF4-FFF2-40B4-BE49-F238E27FC236}">
                <a16:creationId xmlns:a16="http://schemas.microsoft.com/office/drawing/2014/main" id="{4520F90D-6EE0-292C-C946-4E74BC9EDCCB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7851" t="40082" r="33595" b="44439"/>
          <a:stretch/>
        </p:blipFill>
        <p:spPr>
          <a:xfrm>
            <a:off x="835344" y="3031947"/>
            <a:ext cx="7736256" cy="168253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E3EFB16-B286-C4DD-5AD2-FBE9A5588F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2738" y="350910"/>
            <a:ext cx="8425656" cy="290450"/>
          </a:xfrm>
        </p:spPr>
        <p:txBody>
          <a:bodyPr/>
          <a:lstStyle/>
          <a:p>
            <a:r>
              <a:rPr lang="de-DE"/>
              <a:t>3. </a:t>
            </a:r>
            <a:r>
              <a:rPr lang="en-GB"/>
              <a:t>Hints and relevant concepts for the tasks of Assignment 8</a:t>
            </a:r>
          </a:p>
        </p:txBody>
      </p:sp>
    </p:spTree>
    <p:extLst>
      <p:ext uri="{BB962C8B-B14F-4D97-AF65-F5344CB8AC3E}">
        <p14:creationId xmlns:p14="http://schemas.microsoft.com/office/powerpoint/2010/main" val="274146455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6CACAD-078B-720D-72AB-F2A4DBBAC0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944" y="638299"/>
            <a:ext cx="8426450" cy="609662"/>
          </a:xfrm>
        </p:spPr>
        <p:txBody>
          <a:bodyPr/>
          <a:lstStyle/>
          <a:p>
            <a:r>
              <a:rPr lang="de-DE"/>
              <a:t>3.2. </a:t>
            </a:r>
            <a:r>
              <a:rPr lang="en-GB"/>
              <a:t>How to import data with pandas (2)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924E04-C83C-07B8-D3CD-9031D995400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18</a:t>
            </a:fld>
            <a:endParaRPr lang="en-GB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FD01D1C-44A4-4C57-8FCE-ED0F9377B4E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101725"/>
            <a:ext cx="7244301" cy="197543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After we have “imported” the data,  we can now use the </a:t>
            </a:r>
            <a:r>
              <a:rPr lang="en-US">
                <a:latin typeface="Monaco" pitchFamily="2" charset="77"/>
                <a:hlinkClick r:id="rId2"/>
              </a:rPr>
              <a:t>pd.DataFrame.head(&lt;# of rows&gt;) </a:t>
            </a:r>
            <a:r>
              <a:rPr lang="en-US"/>
              <a:t>instance method to get a first overview of the imported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234E843-D25F-60F6-7EA5-FDF0932498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61431" y="1658509"/>
            <a:ext cx="5621138" cy="3044783"/>
          </a:xfrm>
          <a:prstGeom prst="rect">
            <a:avLst/>
          </a:prstGeom>
        </p:spPr>
      </p:pic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5F9839E5-9B1C-E336-576D-5E11680FD6C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2738" y="350910"/>
            <a:ext cx="8425656" cy="290450"/>
          </a:xfrm>
        </p:spPr>
        <p:txBody>
          <a:bodyPr/>
          <a:lstStyle/>
          <a:p>
            <a:r>
              <a:rPr lang="de-DE"/>
              <a:t>3. </a:t>
            </a:r>
            <a:r>
              <a:rPr lang="en-GB"/>
              <a:t>Hints and relevant concepts for the tasks of Assignment 8</a:t>
            </a:r>
          </a:p>
        </p:txBody>
      </p:sp>
    </p:spTree>
    <p:extLst>
      <p:ext uri="{BB962C8B-B14F-4D97-AF65-F5344CB8AC3E}">
        <p14:creationId xmlns:p14="http://schemas.microsoft.com/office/powerpoint/2010/main" val="324665745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AC03F16-45A2-47BC-B83F-E12938377D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7797" y="673742"/>
            <a:ext cx="7468950" cy="770510"/>
          </a:xfrm>
        </p:spPr>
        <p:txBody>
          <a:bodyPr/>
          <a:lstStyle/>
          <a:p>
            <a:r>
              <a:rPr lang="en-GB"/>
              <a:t>3.3. </a:t>
            </a:r>
            <a:r>
              <a:rPr lang="en-GB" err="1"/>
              <a:t>loc</a:t>
            </a:r>
            <a:r>
              <a:rPr lang="en-GB"/>
              <a:t> and </a:t>
            </a:r>
            <a:r>
              <a:rPr lang="en-GB" err="1"/>
              <a:t>iloc</a:t>
            </a:r>
            <a:r>
              <a:rPr lang="en-GB"/>
              <a:t> – How to use them and the difference </a:t>
            </a:r>
            <a:br>
              <a:rPr lang="en-GB"/>
            </a:br>
            <a:r>
              <a:rPr lang="en-GB"/>
              <a:t>between the two (1)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992D2E2-05C4-4AC4-B83E-1831B3664C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2EECED-B2E4-49C5-A419-58B4E364D38E}" type="slidenum">
              <a:rPr lang="en-US" smtClean="0"/>
              <a:t>19</a:t>
            </a:fld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AB32905-E746-AFC6-1FD4-D542856AC5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7970" y="1457923"/>
            <a:ext cx="7828059" cy="3263212"/>
          </a:xfrm>
        </p:spPr>
        <p:txBody>
          <a:bodyPr>
            <a:normAutofit lnSpcReduction="10000"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>
                <a:latin typeface="Monaco" pitchFamily="2" charset="77"/>
                <a:hlinkClick r:id="rId2"/>
              </a:rPr>
              <a:t>loc</a:t>
            </a:r>
            <a:r>
              <a:rPr lang="en-US" sz="1600"/>
              <a:t> and </a:t>
            </a:r>
            <a:r>
              <a:rPr lang="en-US" sz="1600">
                <a:latin typeface="Monaco" pitchFamily="2" charset="77"/>
                <a:hlinkClick r:id="rId3"/>
              </a:rPr>
              <a:t>iloc</a:t>
            </a:r>
            <a:r>
              <a:rPr lang="en-US" sz="1600"/>
              <a:t> are both </a:t>
            </a:r>
            <a:r>
              <a:rPr lang="en-US" sz="1600" b="1"/>
              <a:t>instance property </a:t>
            </a:r>
            <a:r>
              <a:rPr lang="en-US" sz="1600"/>
              <a:t>of </a:t>
            </a:r>
            <a:r>
              <a:rPr lang="en-US" sz="1600" err="1">
                <a:latin typeface="Monaco" pitchFamily="2" charset="77"/>
              </a:rPr>
              <a:t>DataFrame</a:t>
            </a:r>
            <a:r>
              <a:rPr lang="en-US" sz="1600"/>
              <a:t> to select data from the </a:t>
            </a:r>
            <a:r>
              <a:rPr lang="en-US" sz="1600" err="1"/>
              <a:t>DataFrame</a:t>
            </a:r>
            <a:endParaRPr lang="en-US" sz="1600"/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b="1">
                <a:latin typeface="Monaco" pitchFamily="2" charset="77"/>
              </a:rPr>
              <a:t>loc</a:t>
            </a:r>
            <a:r>
              <a:rPr lang="en-US" sz="1600" b="1"/>
              <a:t> is label-based</a:t>
            </a:r>
            <a:r>
              <a:rPr lang="en-US" sz="1600"/>
              <a:t>, which means that you have to specify rows and columns based on their row and column labels in order to select them</a:t>
            </a:r>
          </a:p>
          <a:p>
            <a:pPr lvl="3">
              <a:spcAft>
                <a:spcPts val="1200"/>
              </a:spcAft>
            </a:pPr>
            <a:r>
              <a:rPr lang="en-US" sz="1600"/>
              <a:t>Column labels are the column names</a:t>
            </a:r>
          </a:p>
          <a:p>
            <a:pPr lvl="3">
              <a:spcAft>
                <a:spcPts val="1200"/>
              </a:spcAft>
            </a:pPr>
            <a:r>
              <a:rPr lang="en-US" sz="1600"/>
              <a:t>Row labels are the indexes of the rows</a:t>
            </a:r>
          </a:p>
          <a:p>
            <a:pPr lvl="3">
              <a:spcAft>
                <a:spcPts val="1200"/>
              </a:spcAft>
            </a:pPr>
            <a:r>
              <a:rPr lang="en-US" sz="1600"/>
              <a:t>Syntax: </a:t>
            </a:r>
            <a:r>
              <a:rPr lang="en-US" sz="1600" err="1"/>
              <a:t>df_crime.loc</a:t>
            </a:r>
            <a:r>
              <a:rPr lang="en-US" sz="1600"/>
              <a:t>[</a:t>
            </a:r>
            <a:r>
              <a:rPr lang="en-US" sz="1600" err="1"/>
              <a:t>row_labels</a:t>
            </a:r>
            <a:r>
              <a:rPr lang="en-US" sz="1600"/>
              <a:t>, </a:t>
            </a:r>
            <a:r>
              <a:rPr lang="en-US" sz="1600" err="1"/>
              <a:t>column_labels</a:t>
            </a:r>
            <a:r>
              <a:rPr lang="en-US" sz="1600"/>
              <a:t>]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b="1" err="1"/>
              <a:t>iloc</a:t>
            </a:r>
            <a:r>
              <a:rPr lang="en-US" sz="1600" b="1"/>
              <a:t> is integer position-based</a:t>
            </a:r>
            <a:r>
              <a:rPr lang="en-US" sz="1600"/>
              <a:t>, so you have to specify rows and columns by their integer positions values (the integer positions start with 0)</a:t>
            </a:r>
          </a:p>
          <a:p>
            <a:pPr lvl="3">
              <a:spcAft>
                <a:spcPts val="1200"/>
              </a:spcAft>
            </a:pPr>
            <a:r>
              <a:rPr lang="en-US" sz="1600"/>
              <a:t>Syntax: </a:t>
            </a:r>
            <a:r>
              <a:rPr lang="en-US" sz="1600" err="1"/>
              <a:t>df_crime.iloc</a:t>
            </a:r>
            <a:r>
              <a:rPr lang="en-US" sz="1600"/>
              <a:t>[</a:t>
            </a:r>
            <a:r>
              <a:rPr lang="en-US" sz="1600" err="1"/>
              <a:t>row_integer_numbers</a:t>
            </a:r>
            <a:r>
              <a:rPr lang="en-US" sz="1600"/>
              <a:t>, </a:t>
            </a:r>
            <a:r>
              <a:rPr lang="en-US" sz="1600" err="1"/>
              <a:t>column_integer_numbers</a:t>
            </a:r>
            <a:r>
              <a:rPr lang="en-US" sz="1600"/>
              <a:t>]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0E33CF77-9676-7C0A-30FA-2516E9BD5F07}"/>
              </a:ext>
            </a:extLst>
          </p:cNvPr>
          <p:cNvSpPr txBox="1">
            <a:spLocks/>
          </p:cNvSpPr>
          <p:nvPr/>
        </p:nvSpPr>
        <p:spPr>
          <a:xfrm>
            <a:off x="362738" y="350910"/>
            <a:ext cx="8425656" cy="29045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ctr" defTabSz="6858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1500"/>
              <a:t>3. </a:t>
            </a:r>
            <a:r>
              <a:rPr lang="en-GB" sz="1500"/>
              <a:t>Hints and relevant concepts for the tasks of Assignment 8</a:t>
            </a:r>
          </a:p>
          <a:p>
            <a:pPr algn="l"/>
            <a:r>
              <a:rPr lang="de-DE" sz="1500"/>
              <a:t> </a:t>
            </a:r>
            <a:endParaRPr lang="en-GB" sz="1500"/>
          </a:p>
        </p:txBody>
      </p:sp>
    </p:spTree>
    <p:extLst>
      <p:ext uri="{BB962C8B-B14F-4D97-AF65-F5344CB8AC3E}">
        <p14:creationId xmlns:p14="http://schemas.microsoft.com/office/powerpoint/2010/main" val="25977765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7DB3436-ED48-75F7-EFC8-D81AEA02D09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DF72C1-C663-3FA3-FACB-98369A161D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oday’s Menu</a:t>
            </a: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8C104DD-55A5-D5D7-68B1-A81097757D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8775" y="1102317"/>
            <a:ext cx="7548797" cy="3860455"/>
          </a:xfrm>
        </p:spPr>
        <p:txBody>
          <a:bodyPr>
            <a:normAutofit/>
          </a:bodyPr>
          <a:lstStyle/>
          <a:p>
            <a:pPr algn="l" rtl="0" fontAlgn="base">
              <a:buFont typeface="+mj-lt"/>
              <a:buAutoNum type="arabicPeriod"/>
            </a:pPr>
            <a:r>
              <a:rPr lang="en-US" sz="1800" b="0" i="0" u="none" strike="noStrike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Discussion of assignment 7 and the respective quiz </a:t>
            </a:r>
            <a:r>
              <a:rPr lang="en-US" sz="1800" b="0" i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+mj-lt"/>
              <a:buAutoNum type="arabicPeriod"/>
            </a:pPr>
            <a:r>
              <a:rPr lang="en-US" sz="1800" b="0" i="0" u="none" strike="noStrike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Brief summary of skills necessary to solve assignment 8</a:t>
            </a:r>
            <a:r>
              <a:rPr lang="en-US" sz="1800" b="0" i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+mj-lt"/>
              <a:buAutoNum type="arabicPeriod"/>
            </a:pPr>
            <a:r>
              <a:rPr lang="en-US" sz="1800" b="0" i="0" u="none" strike="noStrike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Working on assignment 8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>
              <a:spcAft>
                <a:spcPts val="800"/>
              </a:spcAft>
            </a:pPr>
            <a:endParaRPr lang="en-US"/>
          </a:p>
          <a:p>
            <a:pPr marL="0" indent="0">
              <a:buNone/>
            </a:pPr>
            <a:endParaRPr lang="en-GB" sz="1100"/>
          </a:p>
        </p:txBody>
      </p:sp>
    </p:spTree>
    <p:extLst>
      <p:ext uri="{BB962C8B-B14F-4D97-AF65-F5344CB8AC3E}">
        <p14:creationId xmlns:p14="http://schemas.microsoft.com/office/powerpoint/2010/main" val="29463323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6CACAD-078B-720D-72AB-F2A4DBBAC0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738" y="644687"/>
            <a:ext cx="7394000" cy="609662"/>
          </a:xfrm>
        </p:spPr>
        <p:txBody>
          <a:bodyPr/>
          <a:lstStyle/>
          <a:p>
            <a:r>
              <a:rPr lang="en-GB"/>
              <a:t>3.3. </a:t>
            </a:r>
            <a:r>
              <a:rPr lang="en-GB" err="1"/>
              <a:t>loc</a:t>
            </a:r>
            <a:r>
              <a:rPr lang="en-GB"/>
              <a:t> and </a:t>
            </a:r>
            <a:r>
              <a:rPr lang="en-GB" err="1"/>
              <a:t>iloc</a:t>
            </a:r>
            <a:r>
              <a:rPr lang="en-GB"/>
              <a:t> – How to use them and the difference </a:t>
            </a:r>
            <a:br>
              <a:rPr lang="en-GB"/>
            </a:br>
            <a:r>
              <a:rPr lang="en-GB"/>
              <a:t>between the two (2)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924E04-C83C-07B8-D3CD-9031D995400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20</a:t>
            </a:fld>
            <a:endParaRPr lang="en-GB"/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28343401-1E36-6CA3-E9CD-FA8B9AEB81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41567" y="1394984"/>
            <a:ext cx="6445195" cy="849989"/>
          </a:xfrm>
        </p:spPr>
        <p:txBody>
          <a:bodyPr/>
          <a:lstStyle/>
          <a:p>
            <a:r>
              <a:rPr lang="en-US"/>
              <a:t>Example for the </a:t>
            </a:r>
            <a:r>
              <a:rPr lang="en-US">
                <a:latin typeface="Monaco" pitchFamily="2" charset="77"/>
                <a:hlinkClick r:id="rId2"/>
              </a:rPr>
              <a:t>pd.DataFrame.loc </a:t>
            </a:r>
            <a:r>
              <a:rPr lang="en-US"/>
              <a:t>property:</a:t>
            </a:r>
          </a:p>
          <a:p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998C6F5-9393-64D6-93BA-C973A3A68B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25135" y="1786280"/>
            <a:ext cx="6281506" cy="2980983"/>
          </a:xfrm>
          <a:prstGeom prst="rect">
            <a:avLst/>
          </a:prstGeom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34A673C7-A7F0-763B-3668-0A63C069C9F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2738" y="350910"/>
            <a:ext cx="8425656" cy="290450"/>
          </a:xfrm>
        </p:spPr>
        <p:txBody>
          <a:bodyPr/>
          <a:lstStyle/>
          <a:p>
            <a:r>
              <a:rPr lang="de-DE"/>
              <a:t>3. </a:t>
            </a:r>
            <a:r>
              <a:rPr lang="en-GB"/>
              <a:t>Hints and relevant concepts for the tasks of Assignment 8</a:t>
            </a:r>
          </a:p>
        </p:txBody>
      </p:sp>
    </p:spTree>
    <p:extLst>
      <p:ext uri="{BB962C8B-B14F-4D97-AF65-F5344CB8AC3E}">
        <p14:creationId xmlns:p14="http://schemas.microsoft.com/office/powerpoint/2010/main" val="76103058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6CACAD-078B-720D-72AB-F2A4DBBAC0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4" y="646103"/>
            <a:ext cx="8426450" cy="609662"/>
          </a:xfrm>
        </p:spPr>
        <p:txBody>
          <a:bodyPr/>
          <a:lstStyle/>
          <a:p>
            <a:r>
              <a:rPr lang="en-GB"/>
              <a:t>3.3. </a:t>
            </a:r>
            <a:r>
              <a:rPr lang="en-GB" err="1"/>
              <a:t>loc</a:t>
            </a:r>
            <a:r>
              <a:rPr lang="en-GB"/>
              <a:t> and </a:t>
            </a:r>
            <a:r>
              <a:rPr lang="en-GB" err="1"/>
              <a:t>iloc</a:t>
            </a:r>
            <a:r>
              <a:rPr lang="en-GB"/>
              <a:t> – How to use them and the difference </a:t>
            </a:r>
            <a:br>
              <a:rPr lang="en-GB"/>
            </a:br>
            <a:r>
              <a:rPr lang="en-GB"/>
              <a:t>between the two (3)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924E04-C83C-07B8-D3CD-9031D995400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21</a:t>
            </a:fld>
            <a:endParaRPr lang="en-GB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CA3AA344-88B1-06CB-16EC-0F7BDD931B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1689" y="1463570"/>
            <a:ext cx="6707588" cy="942723"/>
          </a:xfrm>
        </p:spPr>
        <p:txBody>
          <a:bodyPr/>
          <a:lstStyle/>
          <a:p>
            <a:r>
              <a:rPr lang="en-US"/>
              <a:t>Example for the </a:t>
            </a:r>
            <a:r>
              <a:rPr lang="en-US">
                <a:latin typeface="Monaco" pitchFamily="2" charset="77"/>
                <a:hlinkClick r:id="rId2"/>
              </a:rPr>
              <a:t>pd.DataFrame.iloc</a:t>
            </a:r>
            <a:r>
              <a:rPr lang="en-US"/>
              <a:t> property:</a:t>
            </a:r>
          </a:p>
          <a:p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8389D1E-1540-9DB6-36F4-4AC6780E43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95957" y="1857151"/>
            <a:ext cx="5752085" cy="2912397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B16844D3-DA6E-A277-B07C-A08195E3696A}"/>
              </a:ext>
            </a:extLst>
          </p:cNvPr>
          <p:cNvSpPr/>
          <p:nvPr/>
        </p:nvSpPr>
        <p:spPr>
          <a:xfrm>
            <a:off x="1695957" y="4607783"/>
            <a:ext cx="473103" cy="149840"/>
          </a:xfrm>
          <a:prstGeom prst="rect">
            <a:avLst/>
          </a:prstGeom>
          <a:solidFill>
            <a:srgbClr val="FF0000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A22E0B7-6A99-BC71-B33F-E6556111D0FA}"/>
              </a:ext>
            </a:extLst>
          </p:cNvPr>
          <p:cNvSpPr/>
          <p:nvPr/>
        </p:nvSpPr>
        <p:spPr>
          <a:xfrm>
            <a:off x="4098896" y="2496830"/>
            <a:ext cx="617221" cy="149840"/>
          </a:xfrm>
          <a:prstGeom prst="rect">
            <a:avLst/>
          </a:prstGeom>
          <a:solidFill>
            <a:srgbClr val="FF0000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55D8703-78FF-20BB-44A8-8E6A87C20204}"/>
              </a:ext>
            </a:extLst>
          </p:cNvPr>
          <p:cNvSpPr/>
          <p:nvPr/>
        </p:nvSpPr>
        <p:spPr>
          <a:xfrm>
            <a:off x="6196726" y="2389985"/>
            <a:ext cx="887543" cy="149840"/>
          </a:xfrm>
          <a:prstGeom prst="rect">
            <a:avLst/>
          </a:prstGeom>
          <a:solidFill>
            <a:srgbClr val="FF0000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A4ECA5E-8C2E-D938-ECAF-0DC812DA050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2738" y="350910"/>
            <a:ext cx="8425656" cy="290450"/>
          </a:xfrm>
        </p:spPr>
        <p:txBody>
          <a:bodyPr/>
          <a:lstStyle/>
          <a:p>
            <a:r>
              <a:rPr lang="de-DE"/>
              <a:t>3. </a:t>
            </a:r>
            <a:r>
              <a:rPr lang="en-GB"/>
              <a:t>Hints and relevant concepts for the tasks of Assignment 8</a:t>
            </a:r>
          </a:p>
        </p:txBody>
      </p:sp>
    </p:spTree>
    <p:extLst>
      <p:ext uri="{BB962C8B-B14F-4D97-AF65-F5344CB8AC3E}">
        <p14:creationId xmlns:p14="http://schemas.microsoft.com/office/powerpoint/2010/main" val="396775714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6CACAD-078B-720D-72AB-F2A4DBBAC0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738" y="641360"/>
            <a:ext cx="8591225" cy="609662"/>
          </a:xfrm>
        </p:spPr>
        <p:txBody>
          <a:bodyPr/>
          <a:lstStyle/>
          <a:p>
            <a:r>
              <a:rPr lang="de-DE"/>
              <a:t>3.4. </a:t>
            </a:r>
            <a:r>
              <a:rPr lang="en-GB"/>
              <a:t>Difference between a pandas </a:t>
            </a:r>
            <a:r>
              <a:rPr lang="en-GB" err="1"/>
              <a:t>DataFrame</a:t>
            </a:r>
            <a:r>
              <a:rPr lang="en-GB"/>
              <a:t> and a pandas Series (1)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924E04-C83C-07B8-D3CD-9031D995400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22</a:t>
            </a:fld>
            <a:endParaRPr lang="en-GB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02BFB12-20E1-A24A-915D-7706C79721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89202"/>
            <a:ext cx="7550426" cy="1123712"/>
          </a:xfrm>
        </p:spPr>
        <p:txBody>
          <a:bodyPr/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>
                <a:latin typeface="Monaco" pitchFamily="2" charset="77"/>
                <a:hlinkClick r:id="rId2"/>
              </a:rPr>
              <a:t>pd.DataFrame</a:t>
            </a:r>
            <a:r>
              <a:rPr lang="en-US"/>
              <a:t> is a class defined by the pandas library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/>
              <a:t>We can create objects that are of class </a:t>
            </a:r>
            <a:r>
              <a:rPr lang="en-US" err="1">
                <a:latin typeface="Monaco" pitchFamily="2" charset="77"/>
              </a:rPr>
              <a:t>DataFrame</a:t>
            </a:r>
            <a:r>
              <a:rPr lang="en-US"/>
              <a:t> as we did in the examples before by importing a CSV-file and “converting” it into a </a:t>
            </a:r>
            <a:r>
              <a:rPr lang="en-US" err="1">
                <a:latin typeface="Monaco" pitchFamily="2" charset="77"/>
              </a:rPr>
              <a:t>DataFrame</a:t>
            </a:r>
            <a:endParaRPr lang="en-US">
              <a:latin typeface="Monaco" pitchFamily="2" charset="77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/>
              <a:t>We can also convert objects of the class dictionary to objects of class </a:t>
            </a:r>
            <a:r>
              <a:rPr lang="en-US" err="1">
                <a:latin typeface="Monaco" pitchFamily="2" charset="77"/>
              </a:rPr>
              <a:t>DataFrame</a:t>
            </a:r>
            <a:endParaRPr lang="en-US">
              <a:latin typeface="Monaco" pitchFamily="2" charset="77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7CCF260-43BD-9F83-F481-8D5A9258BC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29906" y="2312914"/>
            <a:ext cx="5484187" cy="2517503"/>
          </a:xfrm>
          <a:prstGeom prst="rect">
            <a:avLst/>
          </a:prstGeom>
        </p:spPr>
      </p:pic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570D8D1-F4EA-189F-47C3-88E491FD1E2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2738" y="350910"/>
            <a:ext cx="8425656" cy="290450"/>
          </a:xfrm>
        </p:spPr>
        <p:txBody>
          <a:bodyPr/>
          <a:lstStyle/>
          <a:p>
            <a:r>
              <a:rPr lang="de-DE"/>
              <a:t>3. </a:t>
            </a:r>
            <a:r>
              <a:rPr lang="en-GB"/>
              <a:t>Hints and relevant concepts for the tasks of Assignment 8</a:t>
            </a:r>
          </a:p>
        </p:txBody>
      </p:sp>
    </p:spTree>
    <p:extLst>
      <p:ext uri="{BB962C8B-B14F-4D97-AF65-F5344CB8AC3E}">
        <p14:creationId xmlns:p14="http://schemas.microsoft.com/office/powerpoint/2010/main" val="257469963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6CACAD-078B-720D-72AB-F2A4DBBAC0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738" y="640512"/>
            <a:ext cx="8622423" cy="609662"/>
          </a:xfrm>
        </p:spPr>
        <p:txBody>
          <a:bodyPr/>
          <a:lstStyle/>
          <a:p>
            <a:r>
              <a:rPr lang="en-GB"/>
              <a:t>3.4. Difference between a pandas </a:t>
            </a:r>
            <a:r>
              <a:rPr lang="en-GB" err="1"/>
              <a:t>DataFrame</a:t>
            </a:r>
            <a:r>
              <a:rPr lang="en-GB"/>
              <a:t> and a pandas Series (2)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924E04-C83C-07B8-D3CD-9031D995400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23</a:t>
            </a:fld>
            <a:endParaRPr lang="en-GB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04080ADF-7A6C-B25C-44D9-9FB75B45DD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3630" y="1126033"/>
            <a:ext cx="7716740" cy="3641230"/>
          </a:xfrm>
        </p:spPr>
        <p:txBody>
          <a:bodyPr>
            <a:norm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err="1">
                <a:latin typeface="Monaco" pitchFamily="2" charset="77"/>
              </a:rPr>
              <a:t>DataFrame</a:t>
            </a:r>
            <a:r>
              <a:rPr lang="en-US"/>
              <a:t> is the primary class/</a:t>
            </a:r>
            <a:r>
              <a:rPr lang="en-US" err="1"/>
              <a:t>datastructure</a:t>
            </a:r>
            <a:r>
              <a:rPr lang="en-US"/>
              <a:t> of the pandas library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/>
              <a:t>Objects of class </a:t>
            </a:r>
            <a:r>
              <a:rPr lang="en-US" err="1">
                <a:latin typeface="Monaco" pitchFamily="2" charset="77"/>
              </a:rPr>
              <a:t>DataFrame</a:t>
            </a:r>
            <a:r>
              <a:rPr lang="en-US"/>
              <a:t> are:</a:t>
            </a:r>
          </a:p>
          <a:p>
            <a:pPr lvl="3">
              <a:spcAft>
                <a:spcPts val="1200"/>
              </a:spcAft>
            </a:pPr>
            <a:r>
              <a:rPr lang="en-US"/>
              <a:t>Two-dimensional </a:t>
            </a:r>
          </a:p>
          <a:p>
            <a:pPr lvl="3">
              <a:spcAft>
                <a:spcPts val="1200"/>
              </a:spcAft>
            </a:pPr>
            <a:r>
              <a:rPr lang="en-US"/>
              <a:t>Size-mutable</a:t>
            </a:r>
          </a:p>
          <a:p>
            <a:pPr lvl="3">
              <a:spcAft>
                <a:spcPts val="1200"/>
              </a:spcAft>
            </a:pPr>
            <a:r>
              <a:rPr lang="en-US"/>
              <a:t>Potentially heterogeneous (may contain values of different datatypes)</a:t>
            </a:r>
          </a:p>
          <a:p>
            <a:pPr lvl="3">
              <a:spcAft>
                <a:spcPts val="1200"/>
              </a:spcAft>
            </a:pPr>
            <a:r>
              <a:rPr lang="en-US"/>
              <a:t>A tabular data structure with labeled axes (rows and columns </a:t>
            </a:r>
            <a:r>
              <a:rPr lang="en-US">
                <a:sym typeface="Wingdings" panose="05000000000000000000" pitchFamily="2" charset="2"/>
              </a:rPr>
              <a:t> indexes for the rows and column names for the columns)</a:t>
            </a:r>
          </a:p>
          <a:p>
            <a:pPr lvl="3">
              <a:spcAft>
                <a:spcPts val="1200"/>
              </a:spcAft>
            </a:pPr>
            <a:r>
              <a:rPr lang="en-US" err="1">
                <a:sym typeface="Wingdings" panose="05000000000000000000" pitchFamily="2" charset="2"/>
              </a:rPr>
              <a:t>DataFrames</a:t>
            </a:r>
            <a:r>
              <a:rPr lang="en-US">
                <a:sym typeface="Wingdings" panose="05000000000000000000" pitchFamily="2" charset="2"/>
              </a:rPr>
              <a:t> are built of multiple Series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err="1">
                <a:sym typeface="Wingdings" panose="05000000000000000000" pitchFamily="2" charset="2"/>
                <a:hlinkClick r:id="rId2"/>
              </a:rPr>
              <a:t>pd.Series</a:t>
            </a:r>
            <a:r>
              <a:rPr lang="en-US">
                <a:sym typeface="Wingdings" panose="05000000000000000000" pitchFamily="2" charset="2"/>
                <a:hlinkClick r:id="rId2"/>
              </a:rPr>
              <a:t> </a:t>
            </a:r>
            <a:r>
              <a:rPr lang="en-US">
                <a:sym typeface="Wingdings" panose="05000000000000000000" pitchFamily="2" charset="2"/>
              </a:rPr>
              <a:t>is the second data structure/class of the </a:t>
            </a:r>
            <a:br>
              <a:rPr lang="en-US">
                <a:sym typeface="Wingdings" panose="05000000000000000000" pitchFamily="2" charset="2"/>
              </a:rPr>
            </a:br>
            <a:r>
              <a:rPr lang="en-US">
                <a:sym typeface="Wingdings" panose="05000000000000000000" pitchFamily="2" charset="2"/>
              </a:rPr>
              <a:t>pandas library</a:t>
            </a:r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5AEC95F-AFAB-59C4-2432-798C8BE75B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49930" y="3340024"/>
            <a:ext cx="1663894" cy="1529632"/>
          </a:xfrm>
          <a:prstGeom prst="rect">
            <a:avLst/>
          </a:prstGeom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B9BCBBD3-2E6C-ADCF-1D5F-E190AA4442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2738" y="350910"/>
            <a:ext cx="8425656" cy="290450"/>
          </a:xfrm>
        </p:spPr>
        <p:txBody>
          <a:bodyPr/>
          <a:lstStyle/>
          <a:p>
            <a:r>
              <a:rPr lang="de-DE"/>
              <a:t>3. </a:t>
            </a:r>
            <a:r>
              <a:rPr lang="en-GB"/>
              <a:t>Hints and relevant concepts for the tasks of Assignment 8</a:t>
            </a:r>
          </a:p>
        </p:txBody>
      </p:sp>
    </p:spTree>
    <p:extLst>
      <p:ext uri="{BB962C8B-B14F-4D97-AF65-F5344CB8AC3E}">
        <p14:creationId xmlns:p14="http://schemas.microsoft.com/office/powerpoint/2010/main" val="337146118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6CACAD-078B-720D-72AB-F2A4DBBAC0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606" y="641959"/>
            <a:ext cx="8555444" cy="609662"/>
          </a:xfrm>
        </p:spPr>
        <p:txBody>
          <a:bodyPr/>
          <a:lstStyle/>
          <a:p>
            <a:r>
              <a:rPr lang="en-GB"/>
              <a:t>3.4. Difference between a pandas </a:t>
            </a:r>
            <a:r>
              <a:rPr lang="en-GB" err="1"/>
              <a:t>DataFrame</a:t>
            </a:r>
            <a:r>
              <a:rPr lang="en-GB"/>
              <a:t> and a pandas Series (3)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924E04-C83C-07B8-D3CD-9031D995400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24</a:t>
            </a:fld>
            <a:endParaRPr lang="en-GB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C90009FD-0FFD-ADCD-AF62-9213EFAAEBA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48411" y="1045783"/>
            <a:ext cx="7047176" cy="2859558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sz="1600" b="1" err="1">
                <a:hlinkClick r:id="rId2"/>
              </a:rPr>
              <a:t>pd.Series</a:t>
            </a:r>
            <a:r>
              <a:rPr lang="en-US" sz="1600" b="1"/>
              <a:t>:</a:t>
            </a:r>
          </a:p>
          <a:p>
            <a:pPr lvl="2">
              <a:spcAft>
                <a:spcPts val="600"/>
              </a:spcAft>
            </a:pPr>
            <a:r>
              <a:rPr lang="en-US" sz="1500"/>
              <a:t>One-dimensional </a:t>
            </a:r>
            <a:r>
              <a:rPr lang="en-US" sz="1500" err="1">
                <a:latin typeface="Monaco" pitchFamily="2" charset="77"/>
                <a:hlinkClick r:id="rId3"/>
              </a:rPr>
              <a:t>numpy.ndarray</a:t>
            </a:r>
            <a:r>
              <a:rPr lang="en-US" sz="1500">
                <a:latin typeface="Monaco" pitchFamily="2" charset="77"/>
              </a:rPr>
              <a:t> </a:t>
            </a:r>
            <a:r>
              <a:rPr lang="en-US" sz="1500"/>
              <a:t>of values with axis labels/indexes</a:t>
            </a:r>
          </a:p>
          <a:p>
            <a:pPr lvl="3">
              <a:spcAft>
                <a:spcPts val="600"/>
              </a:spcAft>
            </a:pPr>
            <a:r>
              <a:rPr lang="en-US" sz="1500" err="1">
                <a:latin typeface="Monaco" pitchFamily="2" charset="77"/>
              </a:rPr>
              <a:t>numpy.ndarray</a:t>
            </a:r>
            <a:r>
              <a:rPr lang="en-US" sz="1500">
                <a:latin typeface="Monaco" pitchFamily="2" charset="77"/>
              </a:rPr>
              <a:t> </a:t>
            </a:r>
            <a:r>
              <a:rPr lang="en-US" sz="1500"/>
              <a:t>is an extended array class from the </a:t>
            </a:r>
            <a:r>
              <a:rPr lang="en-US" sz="1500">
                <a:hlinkClick r:id="rId4"/>
              </a:rPr>
              <a:t>NumPy library</a:t>
            </a:r>
            <a:endParaRPr lang="en-US" sz="1500"/>
          </a:p>
          <a:p>
            <a:pPr lvl="2">
              <a:spcAft>
                <a:spcPts val="600"/>
              </a:spcAft>
            </a:pPr>
            <a:r>
              <a:rPr lang="en-US" sz="1500" b="1"/>
              <a:t>Labels/indexes do not need to be unique </a:t>
            </a:r>
            <a:r>
              <a:rPr lang="en-US" sz="1500"/>
              <a:t>(the same applies to </a:t>
            </a:r>
            <a:r>
              <a:rPr lang="en-US" sz="1500" err="1">
                <a:latin typeface="Monaco" pitchFamily="2" charset="77"/>
              </a:rPr>
              <a:t>DataFrame</a:t>
            </a:r>
            <a:r>
              <a:rPr lang="en-US" sz="1500"/>
              <a:t>)</a:t>
            </a:r>
          </a:p>
          <a:p>
            <a:pPr lvl="2">
              <a:spcAft>
                <a:spcPts val="600"/>
              </a:spcAft>
            </a:pPr>
            <a:r>
              <a:rPr lang="en-US" sz="1500"/>
              <a:t>Can hold data of any type</a:t>
            </a:r>
          </a:p>
          <a:p>
            <a:pPr lvl="2">
              <a:spcAft>
                <a:spcPts val="600"/>
              </a:spcAft>
            </a:pPr>
            <a:r>
              <a:rPr lang="en-US" sz="1500"/>
              <a:t>If nothing else is specified, the values are labeled with their index number</a:t>
            </a:r>
          </a:p>
          <a:p>
            <a:pPr lvl="2">
              <a:spcAft>
                <a:spcPts val="600"/>
              </a:spcAft>
            </a:pPr>
            <a:r>
              <a:rPr lang="en-US" sz="1500"/>
              <a:t>Important: Each column in a </a:t>
            </a:r>
            <a:r>
              <a:rPr lang="en-US" sz="1500" err="1">
                <a:latin typeface="Monaco" pitchFamily="2" charset="77"/>
              </a:rPr>
              <a:t>DataFrame</a:t>
            </a:r>
            <a:r>
              <a:rPr lang="en-US" sz="1500"/>
              <a:t> is basically a </a:t>
            </a:r>
            <a:r>
              <a:rPr lang="en-US" sz="1500">
                <a:latin typeface="Monaco" pitchFamily="2" charset="77"/>
              </a:rPr>
              <a:t>Series</a:t>
            </a:r>
          </a:p>
          <a:p>
            <a:pPr>
              <a:spcAft>
                <a:spcPts val="600"/>
              </a:spcAft>
            </a:pPr>
            <a:r>
              <a:rPr lang="en-US" sz="1500"/>
              <a:t>Example: We can also customize indexes/labels</a:t>
            </a:r>
          </a:p>
          <a:p>
            <a:pPr lvl="1"/>
            <a:endParaRPr lang="en-US"/>
          </a:p>
          <a:p>
            <a:pPr marL="0" indent="0">
              <a:buNone/>
            </a:pPr>
            <a:endParaRPr lang="en-US"/>
          </a:p>
        </p:txBody>
      </p:sp>
      <p:pic>
        <p:nvPicPr>
          <p:cNvPr id="12" name="Grafik 9">
            <a:extLst>
              <a:ext uri="{FF2B5EF4-FFF2-40B4-BE49-F238E27FC236}">
                <a16:creationId xmlns:a16="http://schemas.microsoft.com/office/drawing/2014/main" id="{FD9814E2-B978-1DD1-D998-3AD3E7BF54D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7810" t="70030" r="40505" b="12004"/>
          <a:stretch/>
        </p:blipFill>
        <p:spPr>
          <a:xfrm>
            <a:off x="2217435" y="3516038"/>
            <a:ext cx="4709130" cy="144631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42BD6809-B7AE-9952-CF2C-DFF30AB6A70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2738" y="350910"/>
            <a:ext cx="8425656" cy="290450"/>
          </a:xfrm>
        </p:spPr>
        <p:txBody>
          <a:bodyPr/>
          <a:lstStyle/>
          <a:p>
            <a:r>
              <a:rPr lang="de-DE"/>
              <a:t>3. </a:t>
            </a:r>
            <a:r>
              <a:rPr lang="en-GB"/>
              <a:t>Hints and relevant concepts for the tasks of Assignment 8</a:t>
            </a:r>
          </a:p>
        </p:txBody>
      </p:sp>
    </p:spTree>
    <p:extLst>
      <p:ext uri="{BB962C8B-B14F-4D97-AF65-F5344CB8AC3E}">
        <p14:creationId xmlns:p14="http://schemas.microsoft.com/office/powerpoint/2010/main" val="347408989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6CACAD-078B-720D-72AB-F2A4DBBAC0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738" y="641360"/>
            <a:ext cx="8426450" cy="609662"/>
          </a:xfrm>
        </p:spPr>
        <p:txBody>
          <a:bodyPr/>
          <a:lstStyle/>
          <a:p>
            <a:r>
              <a:rPr lang="en-GB"/>
              <a:t>3.5. Important pandas methods – </a:t>
            </a:r>
            <a:r>
              <a:rPr lang="en-GB" err="1"/>
              <a:t>pd.DataFrame.copy</a:t>
            </a:r>
            <a:r>
              <a:rPr lang="en-GB"/>
              <a:t>()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924E04-C83C-07B8-D3CD-9031D995400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25</a:t>
            </a:fld>
            <a:endParaRPr lang="en-GB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A53E3C72-B8A5-F4A5-110C-4B34CE009E3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83959" y="1060686"/>
            <a:ext cx="7376079" cy="2644622"/>
          </a:xfrm>
        </p:spPr>
        <p:txBody>
          <a:bodyPr>
            <a:norm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/>
              <a:t>Until now we have only created </a:t>
            </a:r>
            <a:r>
              <a:rPr lang="en-US" sz="1600" err="1"/>
              <a:t>dataframes</a:t>
            </a:r>
            <a:r>
              <a:rPr lang="en-US" sz="1600"/>
              <a:t> and we have selected information out of the created </a:t>
            </a:r>
            <a:r>
              <a:rPr lang="en-US" sz="1600" err="1"/>
              <a:t>dataframes</a:t>
            </a:r>
            <a:endParaRPr lang="en-US" sz="1600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/>
              <a:t>We can also change and manipulate </a:t>
            </a:r>
            <a:r>
              <a:rPr lang="en-US" sz="1600" err="1"/>
              <a:t>dataframes</a:t>
            </a:r>
            <a:r>
              <a:rPr lang="en-US" sz="1600"/>
              <a:t> using the pandas library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1"/>
              <a:t>Important: </a:t>
            </a:r>
            <a:r>
              <a:rPr lang="en-US" sz="1600"/>
              <a:t>Because it can be difficult to undo changes, we usually copy the </a:t>
            </a:r>
            <a:r>
              <a:rPr lang="en-US" sz="1600" err="1"/>
              <a:t>dataframe</a:t>
            </a:r>
            <a:r>
              <a:rPr lang="en-US" sz="1600"/>
              <a:t> by </a:t>
            </a:r>
            <a:r>
              <a:rPr lang="en-US" sz="1600" err="1">
                <a:latin typeface="Monaco" pitchFamily="2" charset="77"/>
                <a:hlinkClick r:id="rId2"/>
              </a:rPr>
              <a:t>pd.DataFrame.copy</a:t>
            </a:r>
            <a:r>
              <a:rPr lang="en-US" sz="1600">
                <a:latin typeface="Monaco" pitchFamily="2" charset="77"/>
                <a:hlinkClick r:id="rId2"/>
              </a:rPr>
              <a:t>()</a:t>
            </a:r>
            <a:r>
              <a:rPr lang="en-US" sz="1600">
                <a:latin typeface="Monaco" pitchFamily="2" charset="77"/>
              </a:rPr>
              <a:t> </a:t>
            </a:r>
            <a:r>
              <a:rPr lang="en-US" sz="1600"/>
              <a:t>before we start manipulating it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DCC098B-12EA-4910-A8F5-8FDAE47631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72247" y="2633544"/>
            <a:ext cx="6359522" cy="2133719"/>
          </a:xfrm>
          <a:prstGeom prst="rect">
            <a:avLst/>
          </a:prstGeom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1214FB7-2C94-419F-A7ED-557ADF544D2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2738" y="350910"/>
            <a:ext cx="8425656" cy="290450"/>
          </a:xfrm>
        </p:spPr>
        <p:txBody>
          <a:bodyPr/>
          <a:lstStyle/>
          <a:p>
            <a:r>
              <a:rPr lang="de-DE"/>
              <a:t>3. </a:t>
            </a:r>
            <a:r>
              <a:rPr lang="en-GB"/>
              <a:t>Hints and relevant concepts for the tasks of Assignment 8</a:t>
            </a:r>
          </a:p>
        </p:txBody>
      </p:sp>
    </p:spTree>
    <p:extLst>
      <p:ext uri="{BB962C8B-B14F-4D97-AF65-F5344CB8AC3E}">
        <p14:creationId xmlns:p14="http://schemas.microsoft.com/office/powerpoint/2010/main" val="217207557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6CACAD-078B-720D-72AB-F2A4DBBAC0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812" y="651200"/>
            <a:ext cx="8426450" cy="609662"/>
          </a:xfrm>
        </p:spPr>
        <p:txBody>
          <a:bodyPr/>
          <a:lstStyle/>
          <a:p>
            <a:r>
              <a:rPr lang="en-GB"/>
              <a:t>3.5. Important pandas methods – </a:t>
            </a:r>
            <a:r>
              <a:rPr lang="en-GB" err="1"/>
              <a:t>pd.DataFrame.dropna</a:t>
            </a:r>
            <a:r>
              <a:rPr lang="en-GB"/>
              <a:t>()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924E04-C83C-07B8-D3CD-9031D995400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26</a:t>
            </a:fld>
            <a:endParaRPr lang="en-GB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F7F8F547-2E82-0C9B-B527-752C835C81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9308" y="1130501"/>
            <a:ext cx="8052515" cy="3007420"/>
          </a:xfrm>
        </p:spPr>
        <p:txBody>
          <a:bodyPr>
            <a:normAutofit fontScale="85000" lnSpcReduction="20000"/>
          </a:bodyPr>
          <a:lstStyle/>
          <a:p>
            <a:pPr marL="342900" indent="-34290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100"/>
              <a:t>The </a:t>
            </a:r>
            <a:r>
              <a:rPr lang="en-US" sz="2100">
                <a:latin typeface="Monaco" pitchFamily="2" charset="77"/>
                <a:hlinkClick r:id="rId2"/>
              </a:rPr>
              <a:t>pd.DataFrame.dropna()</a:t>
            </a:r>
            <a:r>
              <a:rPr lang="en-US" sz="2100"/>
              <a:t> instance method erases rows out of the </a:t>
            </a:r>
            <a:r>
              <a:rPr lang="en-US" sz="2100" err="1"/>
              <a:t>dataframe</a:t>
            </a:r>
            <a:r>
              <a:rPr lang="en-US" sz="2100"/>
              <a:t> that has </a:t>
            </a:r>
            <a:r>
              <a:rPr lang="en-US" sz="2100">
                <a:hlinkClick r:id="rId3"/>
              </a:rPr>
              <a:t>NaN</a:t>
            </a:r>
            <a:r>
              <a:rPr lang="en-US" sz="2100"/>
              <a:t> (not a number) in it</a:t>
            </a:r>
          </a:p>
          <a:p>
            <a:pPr lvl="3">
              <a:spcAft>
                <a:spcPts val="1000"/>
              </a:spcAft>
            </a:pPr>
            <a:r>
              <a:rPr lang="en-US" sz="1900"/>
              <a:t>So, rows that do not have values for each entry are deleted</a:t>
            </a:r>
          </a:p>
          <a:p>
            <a:pPr marL="342900" indent="-34290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100"/>
              <a:t>This is an important method for cleaning </a:t>
            </a:r>
            <a:r>
              <a:rPr lang="en-US" sz="2100" err="1"/>
              <a:t>dataframes</a:t>
            </a:r>
            <a:r>
              <a:rPr lang="en-US" sz="2100"/>
              <a:t> and there are multiple keywords and possible inputs for the method that specify more precisely what exactly the method .</a:t>
            </a:r>
            <a:r>
              <a:rPr lang="en-US" sz="2100" err="1"/>
              <a:t>dropna</a:t>
            </a:r>
            <a:r>
              <a:rPr lang="en-US" sz="2100"/>
              <a:t>() should do</a:t>
            </a:r>
          </a:p>
          <a:p>
            <a:pPr lvl="3">
              <a:spcAft>
                <a:spcPts val="1000"/>
              </a:spcAft>
            </a:pPr>
            <a:r>
              <a:rPr lang="en-US" sz="1900"/>
              <a:t>Syntax: </a:t>
            </a:r>
            <a:r>
              <a:rPr lang="en-US" sz="1900" err="1"/>
              <a:t>df_crime.dropna</a:t>
            </a:r>
            <a:r>
              <a:rPr lang="en-US" sz="1900"/>
              <a:t>(axis=0, how='any', thresh=None, subset=None, </a:t>
            </a:r>
            <a:r>
              <a:rPr lang="en-US" sz="1900" err="1"/>
              <a:t>inplace</a:t>
            </a:r>
            <a:r>
              <a:rPr lang="en-US" sz="1900"/>
              <a:t>=False)</a:t>
            </a:r>
          </a:p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900"/>
              <a:t>Example: The input parameter axis:</a:t>
            </a:r>
          </a:p>
          <a:p>
            <a:pPr lvl="3">
              <a:spcAft>
                <a:spcPts val="1000"/>
              </a:spcAft>
            </a:pPr>
            <a:r>
              <a:rPr lang="en-US" sz="1700"/>
              <a:t>0, or ‘index’ : Drop rows which contain missing values (NAN values)</a:t>
            </a:r>
          </a:p>
          <a:p>
            <a:pPr lvl="3">
              <a:spcAft>
                <a:spcPts val="1000"/>
              </a:spcAft>
            </a:pPr>
            <a:r>
              <a:rPr lang="en-US" sz="1700"/>
              <a:t>1, or ‘columns’ : Drop columns which contain missing value (NAN values)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90C96B0-639B-2B97-3C18-4ADB1B6ADE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63406" y="4025687"/>
            <a:ext cx="5609262" cy="952905"/>
          </a:xfrm>
          <a:prstGeom prst="rect">
            <a:avLst/>
          </a:prstGeom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3ACA62D0-690F-45BD-59EF-BE107756D8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2738" y="350910"/>
            <a:ext cx="8425656" cy="290450"/>
          </a:xfrm>
        </p:spPr>
        <p:txBody>
          <a:bodyPr/>
          <a:lstStyle/>
          <a:p>
            <a:r>
              <a:rPr lang="de-DE"/>
              <a:t>3. </a:t>
            </a:r>
            <a:r>
              <a:rPr lang="en-GB"/>
              <a:t>Hints and relevant concepts for the tasks of Assignment 8</a:t>
            </a:r>
          </a:p>
        </p:txBody>
      </p:sp>
    </p:spTree>
    <p:extLst>
      <p:ext uri="{BB962C8B-B14F-4D97-AF65-F5344CB8AC3E}">
        <p14:creationId xmlns:p14="http://schemas.microsoft.com/office/powerpoint/2010/main" val="213008038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6CACAD-078B-720D-72AB-F2A4DBBAC0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3384" y="584371"/>
            <a:ext cx="8426450" cy="609662"/>
          </a:xfrm>
        </p:spPr>
        <p:txBody>
          <a:bodyPr/>
          <a:lstStyle/>
          <a:p>
            <a:r>
              <a:rPr lang="en-GB"/>
              <a:t>3.5. Important pandas methods – </a:t>
            </a:r>
            <a:r>
              <a:rPr lang="en-GB" err="1"/>
              <a:t>pd.DataFrame.groupby</a:t>
            </a:r>
            <a:r>
              <a:rPr lang="en-GB"/>
              <a:t>()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924E04-C83C-07B8-D3CD-9031D995400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27</a:t>
            </a:fld>
            <a:endParaRPr lang="en-GB"/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3A0AE78A-040C-8DA0-4EA4-6BC6B2B2777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4178" y="1023376"/>
            <a:ext cx="8129811" cy="3351125"/>
          </a:xfrm>
        </p:spPr>
        <p:txBody>
          <a:bodyPr>
            <a:normAutofit/>
          </a:bodyPr>
          <a:lstStyle/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>
                <a:latin typeface="Monaco" pitchFamily="2" charset="77"/>
                <a:hlinkClick r:id="rId2"/>
              </a:rPr>
              <a:t>pd.DataFrame.groupby()</a:t>
            </a:r>
            <a:r>
              <a:rPr lang="en-US" sz="1600"/>
              <a:t> instance method is used for grouping the data according to certain categories and applying a function to the categories. It also helps to aggregate data efficiently (for example, to calculate the average value of data points that all fulfill a certain condition).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/>
              <a:t>Example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726AE8E6-4C9E-0B68-5CB5-F84345BC3A6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9674"/>
          <a:stretch/>
        </p:blipFill>
        <p:spPr>
          <a:xfrm>
            <a:off x="1880315" y="1887386"/>
            <a:ext cx="5564701" cy="307644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04EFD9D6-C0DF-089C-BB3D-DEB643EA6E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4178" y="293921"/>
            <a:ext cx="8425656" cy="290450"/>
          </a:xfrm>
        </p:spPr>
        <p:txBody>
          <a:bodyPr/>
          <a:lstStyle/>
          <a:p>
            <a:r>
              <a:rPr lang="de-DE"/>
              <a:t>3. </a:t>
            </a:r>
            <a:r>
              <a:rPr lang="en-GB"/>
              <a:t>Hints and relevant concepts for the tasks of Assignment 8</a:t>
            </a:r>
          </a:p>
        </p:txBody>
      </p:sp>
    </p:spTree>
    <p:extLst>
      <p:ext uri="{BB962C8B-B14F-4D97-AF65-F5344CB8AC3E}">
        <p14:creationId xmlns:p14="http://schemas.microsoft.com/office/powerpoint/2010/main" val="98302621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924E04-C83C-07B8-D3CD-9031D995400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28</a:t>
            </a:fld>
            <a:endParaRPr lang="en-GB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5D5CFE3-F1FD-4EB6-9C43-F56853B32A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738" y="713777"/>
            <a:ext cx="8426450" cy="609662"/>
          </a:xfrm>
        </p:spPr>
        <p:txBody>
          <a:bodyPr/>
          <a:lstStyle/>
          <a:p>
            <a:r>
              <a:rPr lang="en-GB"/>
              <a:t>3.6. Other pandas utilities you might want to use for the assignment – Adding new column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AF8384E-AA2F-66AE-AEDC-299C5AE168BD}"/>
              </a:ext>
            </a:extLst>
          </p:cNvPr>
          <p:cNvSpPr txBox="1"/>
          <p:nvPr/>
        </p:nvSpPr>
        <p:spPr>
          <a:xfrm>
            <a:off x="594360" y="1888302"/>
            <a:ext cx="8190865" cy="21236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900"/>
              <a:t>Sometimes it is convenient to create another column to store semantically useful computation result from other columns – we can apply the computations for every row all at once thanks to the pandas integration:</a:t>
            </a:r>
          </a:p>
          <a:p>
            <a:pPr lvl="1">
              <a:spcAft>
                <a:spcPts val="600"/>
              </a:spcAft>
            </a:pPr>
            <a:r>
              <a:rPr lang="en-US" sz="1500" err="1">
                <a:latin typeface="Monaco" pitchFamily="2" charset="77"/>
              </a:rPr>
              <a:t>df_crime</a:t>
            </a:r>
            <a:r>
              <a:rPr lang="en-US" sz="1500">
                <a:latin typeface="Monaco" pitchFamily="2" charset="77"/>
              </a:rPr>
              <a:t>[“REPORTING_AREA/</a:t>
            </a:r>
            <a:r>
              <a:rPr lang="de-CH" sz="1500" i="0">
                <a:solidFill>
                  <a:srgbClr val="000000"/>
                </a:solidFill>
                <a:effectLst/>
                <a:latin typeface="Monaco" pitchFamily="2" charset="77"/>
              </a:rPr>
              <a:t>YEAR</a:t>
            </a:r>
            <a:r>
              <a:rPr lang="en-US" sz="1500">
                <a:latin typeface="Monaco" pitchFamily="2" charset="77"/>
              </a:rPr>
              <a:t>”</a:t>
            </a:r>
            <a:r>
              <a:rPr lang="de-CH" sz="1500" i="0">
                <a:solidFill>
                  <a:srgbClr val="000000"/>
                </a:solidFill>
                <a:effectLst/>
                <a:latin typeface="Monaco" pitchFamily="2" charset="77"/>
              </a:rPr>
              <a:t>] =</a:t>
            </a:r>
          </a:p>
          <a:p>
            <a:pPr lvl="1">
              <a:spcAft>
                <a:spcPts val="600"/>
              </a:spcAft>
            </a:pPr>
            <a:r>
              <a:rPr lang="de-CH" sz="1500">
                <a:solidFill>
                  <a:srgbClr val="000000"/>
                </a:solidFill>
                <a:latin typeface="Monaco" pitchFamily="2" charset="77"/>
              </a:rPr>
              <a:t>	d</a:t>
            </a:r>
            <a:r>
              <a:rPr lang="en-US" sz="1500" err="1">
                <a:latin typeface="Monaco" pitchFamily="2" charset="77"/>
              </a:rPr>
              <a:t>f_crime</a:t>
            </a:r>
            <a:r>
              <a:rPr lang="en-US" sz="1500">
                <a:latin typeface="Monaco" pitchFamily="2" charset="77"/>
              </a:rPr>
              <a:t>[“REPORTING_AREA”] / </a:t>
            </a:r>
            <a:r>
              <a:rPr lang="en-US" sz="1500" err="1">
                <a:latin typeface="Monaco" pitchFamily="2" charset="77"/>
              </a:rPr>
              <a:t>df_crime</a:t>
            </a:r>
            <a:r>
              <a:rPr lang="en-US" sz="1500">
                <a:latin typeface="Monaco" pitchFamily="2" charset="77"/>
              </a:rPr>
              <a:t>[“YEAR”]</a:t>
            </a:r>
          </a:p>
          <a:p>
            <a:pPr marL="685800" lvl="1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500"/>
              <a:t>We divide in each row the integer reporting area through the integer year and insert the result into a newly created column with the name “REPORTING_AREA/</a:t>
            </a:r>
            <a:r>
              <a:rPr lang="de-CH" sz="1500" b="1" i="0">
                <a:solidFill>
                  <a:srgbClr val="000000"/>
                </a:solidFill>
                <a:effectLst/>
              </a:rPr>
              <a:t> </a:t>
            </a:r>
            <a:r>
              <a:rPr lang="de-CH" sz="1500" i="0">
                <a:solidFill>
                  <a:srgbClr val="000000"/>
                </a:solidFill>
                <a:effectLst/>
              </a:rPr>
              <a:t>YEAR”</a:t>
            </a:r>
            <a:endParaRPr lang="de-CH" sz="1500">
              <a:solidFill>
                <a:srgbClr val="000000"/>
              </a:solidFill>
            </a:endParaRP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15E8E404-0B7B-3576-A5E6-3C6896541C4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2738" y="350910"/>
            <a:ext cx="8425656" cy="290450"/>
          </a:xfrm>
        </p:spPr>
        <p:txBody>
          <a:bodyPr/>
          <a:lstStyle/>
          <a:p>
            <a:r>
              <a:rPr lang="de-DE"/>
              <a:t>3. </a:t>
            </a:r>
            <a:r>
              <a:rPr lang="en-GB"/>
              <a:t>Hints and relevant concepts for the tasks of Assignment 8</a:t>
            </a:r>
          </a:p>
        </p:txBody>
      </p:sp>
    </p:spTree>
    <p:extLst>
      <p:ext uri="{BB962C8B-B14F-4D97-AF65-F5344CB8AC3E}">
        <p14:creationId xmlns:p14="http://schemas.microsoft.com/office/powerpoint/2010/main" val="127649267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6CACAD-078B-720D-72AB-F2A4DBBAC0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738" y="641360"/>
            <a:ext cx="8426450" cy="609662"/>
          </a:xfrm>
        </p:spPr>
        <p:txBody>
          <a:bodyPr/>
          <a:lstStyle/>
          <a:p>
            <a:r>
              <a:rPr lang="en-GB"/>
              <a:t>3.6. Other pandas utilities you might want to use for the assign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924E04-C83C-07B8-D3CD-9031D995400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29</a:t>
            </a:fld>
            <a:endParaRPr lang="en-GB"/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C18A666D-150D-EC65-4E46-3CB4775466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7856" y="1376257"/>
            <a:ext cx="8361459" cy="3601361"/>
          </a:xfrm>
        </p:spPr>
        <p:txBody>
          <a:bodyPr>
            <a:normAutofit/>
          </a:bodyPr>
          <a:lstStyle/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700" b="1" err="1">
                <a:hlinkClick r:id="rId2"/>
              </a:rPr>
              <a:t>pd.DataFrame.set_index</a:t>
            </a:r>
            <a:r>
              <a:rPr lang="en-US" sz="1700" b="1">
                <a:hlinkClick r:id="rId2"/>
              </a:rPr>
              <a:t>()</a:t>
            </a:r>
            <a:endParaRPr lang="en-US" sz="1700" b="1"/>
          </a:p>
          <a:p>
            <a:pPr lvl="3">
              <a:spcAft>
                <a:spcPts val="600"/>
              </a:spcAft>
            </a:pPr>
            <a:r>
              <a:rPr lang="en-US" sz="1500"/>
              <a:t>Syntax: </a:t>
            </a:r>
            <a:r>
              <a:rPr lang="en-US" sz="1500" err="1"/>
              <a:t>df_crime.set_index</a:t>
            </a:r>
            <a:r>
              <a:rPr lang="en-US" sz="1500"/>
              <a:t>(“</a:t>
            </a:r>
            <a:r>
              <a:rPr lang="en-US" sz="1500" err="1"/>
              <a:t>name_of_the_column_that_should_become_the_new_index</a:t>
            </a:r>
            <a:r>
              <a:rPr lang="en-US" sz="1500"/>
              <a:t>”)</a:t>
            </a:r>
          </a:p>
          <a:p>
            <a:pPr lvl="3">
              <a:spcAft>
                <a:spcPts val="600"/>
              </a:spcAft>
            </a:pPr>
            <a:r>
              <a:rPr lang="en-US" sz="1500"/>
              <a:t>We can set a new index for the </a:t>
            </a:r>
            <a:r>
              <a:rPr lang="en-US" sz="1500" err="1"/>
              <a:t>datafarme</a:t>
            </a:r>
            <a:r>
              <a:rPr lang="en-US" sz="1500"/>
              <a:t> using existing columns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700" b="1" err="1">
                <a:hlinkClick r:id="rId3"/>
              </a:rPr>
              <a:t>pd.DataFrame.sort_index</a:t>
            </a:r>
            <a:r>
              <a:rPr lang="en-US" sz="1700" b="1">
                <a:hlinkClick r:id="rId3"/>
              </a:rPr>
              <a:t>()</a:t>
            </a:r>
            <a:endParaRPr lang="en-US" sz="1700" b="1"/>
          </a:p>
          <a:p>
            <a:pPr lvl="3">
              <a:spcAft>
                <a:spcPts val="600"/>
              </a:spcAft>
            </a:pPr>
            <a:r>
              <a:rPr lang="en-US" sz="1500"/>
              <a:t>Syntax: </a:t>
            </a:r>
            <a:r>
              <a:rPr lang="en-US" sz="1500" err="1"/>
              <a:t>df_crime.sort_index</a:t>
            </a:r>
            <a:r>
              <a:rPr lang="en-US" sz="1500"/>
              <a:t>(ascending = True)</a:t>
            </a:r>
          </a:p>
          <a:p>
            <a:pPr lvl="3">
              <a:spcAft>
                <a:spcPts val="600"/>
              </a:spcAft>
            </a:pPr>
            <a:r>
              <a:rPr lang="en-US" sz="1500"/>
              <a:t>We can sort the </a:t>
            </a:r>
            <a:r>
              <a:rPr lang="en-US" sz="1500" err="1"/>
              <a:t>dataframe</a:t>
            </a:r>
            <a:r>
              <a:rPr lang="en-US" sz="1500"/>
              <a:t> according to the index/labels</a:t>
            </a:r>
          </a:p>
          <a:p>
            <a:pPr lvl="3">
              <a:spcAft>
                <a:spcPts val="600"/>
              </a:spcAft>
            </a:pPr>
            <a:r>
              <a:rPr lang="en-US" sz="1500"/>
              <a:t>With ascending (True or False) we can specify if it should be sorted in ascending or descending order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900" b="1">
                <a:hlinkClick r:id="rId4"/>
              </a:rPr>
              <a:t>pd.DataFrame.sort_values()</a:t>
            </a:r>
            <a:endParaRPr lang="en-GB" sz="1900" b="1"/>
          </a:p>
          <a:p>
            <a:pPr lvl="3">
              <a:spcAft>
                <a:spcPts val="600"/>
              </a:spcAft>
            </a:pPr>
            <a:r>
              <a:rPr lang="en-GB" sz="1500"/>
              <a:t>For an example see next slide</a:t>
            </a:r>
            <a:endParaRPr lang="en-US" sz="150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F30BAE50-61E0-4F73-ADAC-5035561183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2738" y="350910"/>
            <a:ext cx="8425656" cy="290450"/>
          </a:xfrm>
        </p:spPr>
        <p:txBody>
          <a:bodyPr/>
          <a:lstStyle/>
          <a:p>
            <a:r>
              <a:rPr lang="de-DE"/>
              <a:t>3. </a:t>
            </a:r>
            <a:r>
              <a:rPr lang="en-GB"/>
              <a:t>Hints and relevant concepts for the tasks of Assignment 8</a:t>
            </a:r>
          </a:p>
        </p:txBody>
      </p:sp>
    </p:spTree>
    <p:extLst>
      <p:ext uri="{BB962C8B-B14F-4D97-AF65-F5344CB8AC3E}">
        <p14:creationId xmlns:p14="http://schemas.microsoft.com/office/powerpoint/2010/main" val="10652124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A5F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C5C61F6-6EE3-9788-EA5F-0CB9A34397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656451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5C61F6-6EE3-9788-EA5F-0CB9A34397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36256A2-67B2-CA01-7417-6A9C17C6B3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4989" y="578691"/>
            <a:ext cx="7694791" cy="2496171"/>
          </a:xfrm>
        </p:spPr>
        <p:txBody>
          <a:bodyPr vert="horz"/>
          <a:lstStyle/>
          <a:p>
            <a:r>
              <a:rPr lang="en-GB"/>
              <a:t>1. Discussion of the </a:t>
            </a:r>
            <a:br>
              <a:rPr lang="en-GB"/>
            </a:br>
            <a:r>
              <a:rPr lang="en-GB"/>
              <a:t>solutions of Assignment 8</a:t>
            </a:r>
          </a:p>
        </p:txBody>
      </p:sp>
    </p:spTree>
    <p:extLst>
      <p:ext uri="{BB962C8B-B14F-4D97-AF65-F5344CB8AC3E}">
        <p14:creationId xmlns:p14="http://schemas.microsoft.com/office/powerpoint/2010/main" val="86090556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924E04-C83C-07B8-D3CD-9031D995400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30</a:t>
            </a:fld>
            <a:endParaRPr lang="en-GB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A244357B-FD44-EE2B-1AA2-D533A36055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652169"/>
            <a:ext cx="8426450" cy="609662"/>
          </a:xfrm>
        </p:spPr>
        <p:txBody>
          <a:bodyPr/>
          <a:lstStyle/>
          <a:p>
            <a:r>
              <a:rPr lang="en-GB"/>
              <a:t>3.6. Other pandas utilities you might want to use for the assignment – </a:t>
            </a:r>
            <a:r>
              <a:rPr lang="en-GB" err="1"/>
              <a:t>pd.DataFrame.sort_values</a:t>
            </a:r>
            <a:r>
              <a:rPr lang="en-GB"/>
              <a:t>()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3F3217E-E514-FC67-1F58-E44548191FB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1163" t="37955" r="49852" b="14845"/>
          <a:stretch/>
        </p:blipFill>
        <p:spPr>
          <a:xfrm>
            <a:off x="428647" y="1466588"/>
            <a:ext cx="2840216" cy="2960068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C471C20B-1C00-E565-0DF3-B681B57DF86C}"/>
              </a:ext>
            </a:extLst>
          </p:cNvPr>
          <p:cNvSpPr/>
          <p:nvPr/>
        </p:nvSpPr>
        <p:spPr>
          <a:xfrm>
            <a:off x="1503400" y="1496604"/>
            <a:ext cx="724865" cy="2900035"/>
          </a:xfrm>
          <a:prstGeom prst="rect">
            <a:avLst/>
          </a:prstGeom>
          <a:solidFill>
            <a:srgbClr val="FF0000">
              <a:alpha val="15000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4BCA3A8F-4951-EBA4-4352-111CD95B633C}"/>
              </a:ext>
            </a:extLst>
          </p:cNvPr>
          <p:cNvSpPr/>
          <p:nvPr/>
        </p:nvSpPr>
        <p:spPr>
          <a:xfrm>
            <a:off x="3603656" y="2571750"/>
            <a:ext cx="2503311" cy="110632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92E3DDA-A9E7-8054-0815-CFBA3231880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1271" t="54564" r="47352" b="37333"/>
          <a:stretch/>
        </p:blipFill>
        <p:spPr>
          <a:xfrm>
            <a:off x="3366783" y="2102203"/>
            <a:ext cx="2841057" cy="469547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544BCE37-76C0-92BB-0F8D-9A41279BEB5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1337" t="32718" r="47352" b="12103"/>
          <a:stretch/>
        </p:blipFill>
        <p:spPr>
          <a:xfrm>
            <a:off x="6341428" y="1529382"/>
            <a:ext cx="2513095" cy="2834477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D98B713D-A310-06F9-5253-09BA5697F08D}"/>
              </a:ext>
            </a:extLst>
          </p:cNvPr>
          <p:cNvSpPr/>
          <p:nvPr/>
        </p:nvSpPr>
        <p:spPr>
          <a:xfrm>
            <a:off x="7330366" y="1521508"/>
            <a:ext cx="660695" cy="2834477"/>
          </a:xfrm>
          <a:prstGeom prst="rect">
            <a:avLst/>
          </a:prstGeom>
          <a:solidFill>
            <a:srgbClr val="FF0000">
              <a:alpha val="15000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2B27517-E391-5191-87A9-9AF2E10A3253}"/>
              </a:ext>
            </a:extLst>
          </p:cNvPr>
          <p:cNvSpPr txBox="1"/>
          <p:nvPr/>
        </p:nvSpPr>
        <p:spPr>
          <a:xfrm>
            <a:off x="3735152" y="1802121"/>
            <a:ext cx="207044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/>
              <a:t>Code applied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ECD7AE63-ED49-B485-3894-C8245818A5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2738" y="350910"/>
            <a:ext cx="8425656" cy="290450"/>
          </a:xfrm>
        </p:spPr>
        <p:txBody>
          <a:bodyPr/>
          <a:lstStyle/>
          <a:p>
            <a:r>
              <a:rPr lang="de-DE"/>
              <a:t>3. </a:t>
            </a:r>
            <a:r>
              <a:rPr lang="en-GB"/>
              <a:t>Hints and relevant concepts for the tasks of Assignment 8</a:t>
            </a:r>
          </a:p>
        </p:txBody>
      </p:sp>
    </p:spTree>
    <p:extLst>
      <p:ext uri="{BB962C8B-B14F-4D97-AF65-F5344CB8AC3E}">
        <p14:creationId xmlns:p14="http://schemas.microsoft.com/office/powerpoint/2010/main" val="413496136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924E04-C83C-07B8-D3CD-9031D995400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31</a:t>
            </a:fld>
            <a:endParaRPr lang="en-GB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5D5CFE3-F1FD-4EB6-9C43-F56853B32A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647071"/>
            <a:ext cx="8426450" cy="609662"/>
          </a:xfrm>
        </p:spPr>
        <p:txBody>
          <a:bodyPr/>
          <a:lstStyle/>
          <a:p>
            <a:r>
              <a:rPr lang="en-GB"/>
              <a:t>3.6. Other pandas utilities you might want to use for the assignment - Dealing with the axes of </a:t>
            </a:r>
            <a:r>
              <a:rPr lang="en-GB" err="1"/>
              <a:t>dataframes</a:t>
            </a:r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99347CD-DA53-C74D-EAA0-84263E3455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8642" y="1430744"/>
            <a:ext cx="6382439" cy="3336519"/>
          </a:xfrm>
          <a:prstGeom prst="rect">
            <a:avLst/>
          </a:prstGeom>
        </p:spPr>
      </p:pic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D17D90FA-5903-2A42-B0A4-C9B27BEFFAB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2738" y="350910"/>
            <a:ext cx="8425656" cy="290450"/>
          </a:xfrm>
        </p:spPr>
        <p:txBody>
          <a:bodyPr/>
          <a:lstStyle/>
          <a:p>
            <a:r>
              <a:rPr lang="de-DE"/>
              <a:t>3. </a:t>
            </a:r>
            <a:r>
              <a:rPr lang="en-GB"/>
              <a:t>Hints and relevant concepts for the tasks of Assignment 8</a:t>
            </a:r>
          </a:p>
        </p:txBody>
      </p:sp>
    </p:spTree>
    <p:extLst>
      <p:ext uri="{BB962C8B-B14F-4D97-AF65-F5344CB8AC3E}">
        <p14:creationId xmlns:p14="http://schemas.microsoft.com/office/powerpoint/2010/main" val="253823789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2FE6CED-A003-2F24-9759-570ACBCD6C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2FE6CED-A003-2F24-9759-570ACBCD6C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92E3E48-FF8A-5E4C-67CC-8B0608A09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7387" y="1946961"/>
            <a:ext cx="7237225" cy="2496171"/>
          </a:xfrm>
        </p:spPr>
        <p:txBody>
          <a:bodyPr vert="horz">
            <a:normAutofit fontScale="90000"/>
          </a:bodyPr>
          <a:lstStyle/>
          <a:p>
            <a:br>
              <a:rPr lang="en-GB"/>
            </a:br>
            <a:br>
              <a:rPr lang="en-GB"/>
            </a:br>
            <a:br>
              <a:rPr lang="en-GB"/>
            </a:br>
            <a:r>
              <a:rPr lang="en-GB">
                <a:latin typeface="Gill Sans Nova Light"/>
              </a:rPr>
              <a:t>Now you have everything you need to start with assignment 8</a:t>
            </a:r>
            <a:br>
              <a:rPr lang="en-GB"/>
            </a:br>
            <a:br>
              <a:rPr lang="en-GB"/>
            </a:b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935416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15">
            <a:extLst>
              <a:ext uri="{FF2B5EF4-FFF2-40B4-BE49-F238E27FC236}">
                <a16:creationId xmlns:a16="http://schemas.microsoft.com/office/drawing/2014/main" id="{909CA527-9C4E-4704-9579-AA53445EF11F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/>
            <a:r>
              <a:rPr lang="de-DE"/>
              <a:t>&lt;</a:t>
            </a:r>
            <a:r>
              <a:rPr lang="de-DE" err="1"/>
              <a:t>Your</a:t>
            </a:r>
            <a:r>
              <a:rPr lang="de-DE"/>
              <a:t> Name&gt;</a:t>
            </a:r>
          </a:p>
          <a:p>
            <a:pPr marL="0" lvl="1" indent="0" defTabSz="914400">
              <a:spcAft>
                <a:spcPts val="450"/>
              </a:spcAft>
              <a:buClr>
                <a:srgbClr val="00802F"/>
              </a:buClr>
              <a:buNone/>
            </a:pPr>
            <a:r>
              <a:rPr lang="de-DE">
                <a:cs typeface="Arial" pitchFamily="34" charset="0"/>
              </a:rPr>
              <a:t>&lt;</a:t>
            </a:r>
            <a:r>
              <a:rPr lang="de-DE" err="1">
                <a:cs typeface="Arial" pitchFamily="34" charset="0"/>
              </a:rPr>
              <a:t>Function</a:t>
            </a:r>
            <a:r>
              <a:rPr lang="de-DE">
                <a:cs typeface="Arial" pitchFamily="34" charset="0"/>
              </a:rPr>
              <a:t>&gt;</a:t>
            </a:r>
          </a:p>
          <a:p>
            <a:pPr marL="0" indent="0"/>
            <a:r>
              <a:rPr lang="de-DE" b="0" err="1">
                <a:hlinkClick r:id="rId3"/>
              </a:rPr>
              <a:t>lirst.last</a:t>
            </a:r>
            <a:r>
              <a:rPr lang="de-DE" b="0">
                <a:hlinkClick r:id="rId3"/>
              </a:rPr>
              <a:t>@&lt;student.&gt;unisg.ch</a:t>
            </a:r>
            <a:r>
              <a:rPr lang="de-DE" b="0"/>
              <a:t>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501331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6CACAD-078B-720D-72AB-F2A4DBBAC0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944" y="826104"/>
            <a:ext cx="8426450" cy="609662"/>
          </a:xfrm>
        </p:spPr>
        <p:txBody>
          <a:bodyPr/>
          <a:lstStyle/>
          <a:p>
            <a:r>
              <a:rPr lang="en-GB"/>
              <a:t>Different types of JOI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924E04-C83C-07B8-D3CD-9031D995400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4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49BFC3D-C372-5074-9721-17B4C5E1408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2738" y="535654"/>
            <a:ext cx="8425656" cy="290450"/>
          </a:xfrm>
        </p:spPr>
        <p:txBody>
          <a:bodyPr/>
          <a:lstStyle/>
          <a:p>
            <a:r>
              <a:rPr lang="de-DE"/>
              <a:t>1. </a:t>
            </a:r>
            <a:r>
              <a:rPr lang="de-DE" err="1"/>
              <a:t>Discussion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solutions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Assignment</a:t>
            </a:r>
            <a:r>
              <a:rPr lang="de-DE"/>
              <a:t> 7</a:t>
            </a:r>
            <a:endParaRPr lang="en-GB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3DC9A4CB-C186-F0FC-7003-078D7CFFDD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6473" y="1247098"/>
            <a:ext cx="8617527" cy="2060100"/>
          </a:xfrm>
        </p:spPr>
        <p:txBody>
          <a:bodyPr>
            <a:noAutofit/>
          </a:bodyPr>
          <a:lstStyle/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/>
              <a:t>We have seen “INNER JOIN” to merge two tables; however, there are different types of JOINs in SQL:</a:t>
            </a:r>
          </a:p>
          <a:p>
            <a:pPr lvl="1">
              <a:spcBef>
                <a:spcPts val="600"/>
              </a:spcBef>
            </a:pPr>
            <a:r>
              <a:rPr lang="en-US"/>
              <a:t>INNER JOIN (default): Returns records that have matching values in both tables</a:t>
            </a:r>
          </a:p>
          <a:p>
            <a:pPr lvl="1">
              <a:spcBef>
                <a:spcPts val="600"/>
              </a:spcBef>
            </a:pPr>
            <a:r>
              <a:rPr lang="en-US"/>
              <a:t>LEFT JOIN: Returns all records from the left table, and the matched records from the _right_ table</a:t>
            </a:r>
          </a:p>
          <a:p>
            <a:pPr lvl="1">
              <a:spcBef>
                <a:spcPts val="600"/>
              </a:spcBef>
            </a:pPr>
            <a:r>
              <a:rPr lang="en-US"/>
              <a:t>RIGHT JOIN: Returns all records from the right table, and the matched records from the _left_ table</a:t>
            </a:r>
          </a:p>
          <a:p>
            <a:pPr lvl="1">
              <a:spcBef>
                <a:spcPts val="600"/>
              </a:spcBef>
            </a:pPr>
            <a:r>
              <a:rPr lang="en-US"/>
              <a:t>FULL (OUTER) JOIN: Returns all records when there is a match in either the left or the right table</a:t>
            </a:r>
          </a:p>
        </p:txBody>
      </p:sp>
      <p:pic>
        <p:nvPicPr>
          <p:cNvPr id="8" name="Grafik 5">
            <a:extLst>
              <a:ext uri="{FF2B5EF4-FFF2-40B4-BE49-F238E27FC236}">
                <a16:creationId xmlns:a16="http://schemas.microsoft.com/office/drawing/2014/main" id="{038F5CAE-D88B-C2AC-21AA-8F718CFC271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5412" t="51187" r="28230" b="27788"/>
          <a:stretch/>
        </p:blipFill>
        <p:spPr>
          <a:xfrm>
            <a:off x="1004454" y="3090821"/>
            <a:ext cx="7135091" cy="1441783"/>
          </a:xfrm>
          <a:prstGeom prst="rect">
            <a:avLst/>
          </a:prstGeom>
        </p:spPr>
      </p:pic>
      <p:sp>
        <p:nvSpPr>
          <p:cNvPr id="9" name="Textfeld 4">
            <a:extLst>
              <a:ext uri="{FF2B5EF4-FFF2-40B4-BE49-F238E27FC236}">
                <a16:creationId xmlns:a16="http://schemas.microsoft.com/office/drawing/2014/main" id="{76F80E6E-9B7B-2689-EEAA-D34A5C72FD9E}"/>
              </a:ext>
            </a:extLst>
          </p:cNvPr>
          <p:cNvSpPr txBox="1"/>
          <p:nvPr/>
        </p:nvSpPr>
        <p:spPr>
          <a:xfrm>
            <a:off x="5967183" y="4492430"/>
            <a:ext cx="237846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/>
              <a:t>https://www.w3schools.com/sql/sql_join.asp</a:t>
            </a:r>
          </a:p>
        </p:txBody>
      </p:sp>
    </p:spTree>
    <p:extLst>
      <p:ext uri="{BB962C8B-B14F-4D97-AF65-F5344CB8AC3E}">
        <p14:creationId xmlns:p14="http://schemas.microsoft.com/office/powerpoint/2010/main" val="19619985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ADA6DF-7210-51C0-FF3B-4ADB643A42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666E8F7-8B25-B437-131E-F8882B62E1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738" y="711226"/>
            <a:ext cx="8426450" cy="609662"/>
          </a:xfrm>
        </p:spPr>
        <p:txBody>
          <a:bodyPr/>
          <a:lstStyle/>
          <a:p>
            <a:r>
              <a:rPr lang="en-GB"/>
              <a:t>WHERE conditions in SQL statements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457EF17-3F8F-5F3C-D235-ABE6EEBEC21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2738" y="350910"/>
            <a:ext cx="8425656" cy="290450"/>
          </a:xfrm>
        </p:spPr>
        <p:txBody>
          <a:bodyPr/>
          <a:lstStyle/>
          <a:p>
            <a:r>
              <a:rPr lang="de-DE"/>
              <a:t>1. </a:t>
            </a:r>
            <a:r>
              <a:rPr lang="de-DE" err="1"/>
              <a:t>Discussion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solutions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Assignment</a:t>
            </a:r>
            <a:r>
              <a:rPr lang="de-DE"/>
              <a:t> 7</a:t>
            </a:r>
            <a:endParaRPr lang="en-GB"/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F5EEC294-B771-D940-6194-AB1896DE8E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734" y="1162364"/>
            <a:ext cx="7864503" cy="3269909"/>
          </a:xfrm>
        </p:spPr>
        <p:txBody>
          <a:bodyPr>
            <a:norm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/>
              <a:t>The WHERE clauses are used to give the scope of the interaction with the SQL table, but when is it necessary (or not)?</a:t>
            </a:r>
          </a:p>
          <a:p>
            <a:pPr lvl="1">
              <a:spcBef>
                <a:spcPts val="600"/>
              </a:spcBef>
            </a:pPr>
            <a:r>
              <a:rPr lang="en-US"/>
              <a:t>SELECT … WHERE … : select only the entries that meets the condition</a:t>
            </a:r>
          </a:p>
          <a:p>
            <a:pPr lvl="2">
              <a:spcBef>
                <a:spcPts val="600"/>
              </a:spcBef>
            </a:pPr>
            <a:r>
              <a:rPr lang="en-US"/>
              <a:t>without WHERE: select all the entries in the table</a:t>
            </a:r>
          </a:p>
          <a:p>
            <a:pPr lvl="1">
              <a:spcBef>
                <a:spcPts val="600"/>
              </a:spcBef>
            </a:pPr>
            <a:r>
              <a:rPr lang="en-US"/>
              <a:t>INSERT … WHERE … : N/A – the INSERT statement does not take WHERE clause</a:t>
            </a:r>
          </a:p>
          <a:p>
            <a:pPr lvl="2">
              <a:spcBef>
                <a:spcPts val="600"/>
              </a:spcBef>
            </a:pPr>
            <a:r>
              <a:rPr lang="en-US"/>
              <a:t>without WHERE: insert entry to the table</a:t>
            </a:r>
          </a:p>
          <a:p>
            <a:pPr lvl="1">
              <a:spcBef>
                <a:spcPts val="600"/>
              </a:spcBef>
            </a:pPr>
            <a:r>
              <a:rPr lang="en-US"/>
              <a:t>UPDATE … WHERE … : update only the entries that meets the condition</a:t>
            </a:r>
          </a:p>
          <a:p>
            <a:pPr lvl="2">
              <a:spcBef>
                <a:spcPts val="600"/>
              </a:spcBef>
            </a:pPr>
            <a:r>
              <a:rPr lang="en-US"/>
              <a:t>without WHERE: update all the entries in the table (i.e., destructive)</a:t>
            </a:r>
          </a:p>
          <a:p>
            <a:pPr lvl="1">
              <a:spcBef>
                <a:spcPts val="600"/>
              </a:spcBef>
            </a:pPr>
            <a:r>
              <a:rPr lang="en-US"/>
              <a:t>DELETE … WHERE … : delete only the entries that meets the condition</a:t>
            </a:r>
          </a:p>
          <a:p>
            <a:pPr lvl="2">
              <a:spcBef>
                <a:spcPts val="600"/>
              </a:spcBef>
            </a:pPr>
            <a:r>
              <a:rPr lang="en-US"/>
              <a:t>without WHERE: delete all the entries in the table (i.e., destructive)</a:t>
            </a:r>
          </a:p>
        </p:txBody>
      </p:sp>
    </p:spTree>
    <p:extLst>
      <p:ext uri="{BB962C8B-B14F-4D97-AF65-F5344CB8AC3E}">
        <p14:creationId xmlns:p14="http://schemas.microsoft.com/office/powerpoint/2010/main" val="41271386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6B57037-CC83-6A5B-F471-B0A9B14027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242688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6B57037-CC83-6A5B-F471-B0A9B14027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36256A2-67B2-CA01-7417-6A9C17C6B3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2. Discussion of Quiz 8</a:t>
            </a:r>
          </a:p>
        </p:txBody>
      </p:sp>
    </p:spTree>
    <p:extLst>
      <p:ext uri="{BB962C8B-B14F-4D97-AF65-F5344CB8AC3E}">
        <p14:creationId xmlns:p14="http://schemas.microsoft.com/office/powerpoint/2010/main" val="4557839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1C058E9-CDB2-5401-7BE7-9AA096D8E3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Question 1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80C6F38-2113-9A7A-F8CA-DEA212660A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775" y="1284754"/>
            <a:ext cx="4299884" cy="2487291"/>
          </a:xfrm>
        </p:spPr>
        <p:txBody>
          <a:bodyPr vert="horz" lIns="0" tIns="0" rIns="0" bIns="0" rtlCol="0" anchor="t">
            <a:normAutofit/>
          </a:bodyPr>
          <a:lstStyle/>
          <a:p>
            <a:pPr marL="179705" indent="-179705"/>
            <a:r>
              <a:rPr lang="en-US">
                <a:ea typeface="+mn-lt"/>
                <a:cs typeface="+mn-lt"/>
              </a:rPr>
              <a:t>Given is the following table students:</a:t>
            </a:r>
            <a:endParaRPr lang="en-US"/>
          </a:p>
          <a:p>
            <a:pPr marL="179705" indent="-179705"/>
            <a:endParaRPr lang="en-US"/>
          </a:p>
          <a:p>
            <a:pPr marL="179705" indent="-179705"/>
            <a:endParaRPr lang="en-US"/>
          </a:p>
          <a:p>
            <a:pPr marL="179705" indent="-179705"/>
            <a:endParaRPr lang="en-US"/>
          </a:p>
          <a:p>
            <a:pPr marL="179705" indent="-179705"/>
            <a:endParaRPr lang="en-US"/>
          </a:p>
          <a:p>
            <a:pPr marL="179705" indent="-179705"/>
            <a:endParaRPr lang="en-US"/>
          </a:p>
          <a:p>
            <a:pPr marL="179705" indent="-179705"/>
            <a:endParaRPr lang="en-US"/>
          </a:p>
          <a:p>
            <a:pPr marL="179705" indent="-179705"/>
            <a:endParaRPr lang="en-US"/>
          </a:p>
          <a:p>
            <a:pPr marL="179705" indent="-179705"/>
            <a:endParaRPr lang="en-US"/>
          </a:p>
          <a:p>
            <a:pPr marL="179705" indent="-179705"/>
            <a:r>
              <a:rPr lang="en-US"/>
              <a:t>Which query will return the entire tuple of </a:t>
            </a:r>
            <a:r>
              <a:rPr lang="en-US" i="1"/>
              <a:t>Van Sokoloski</a:t>
            </a:r>
            <a:r>
              <a:rPr lang="en-US"/>
              <a:t>?</a:t>
            </a:r>
          </a:p>
          <a:p>
            <a:pPr marL="179705" indent="-179705"/>
            <a:r>
              <a:rPr lang="en-US"/>
              <a:t>Each empty field must contain exactly </a:t>
            </a:r>
            <a:r>
              <a:rPr lang="en-US" b="1"/>
              <a:t>one</a:t>
            </a:r>
            <a:r>
              <a:rPr lang="en-US"/>
              <a:t> word or entry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BC4A593-5BB9-3B4A-5874-1FF868558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7</a:t>
            </a:fld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30CF648-D41C-426E-38CC-593780AE1E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3233" y="1630405"/>
            <a:ext cx="2967878" cy="1399055"/>
          </a:xfrm>
          <a:prstGeom prst="rect">
            <a:avLst/>
          </a:prstGeom>
        </p:spPr>
      </p:pic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4C95AFA6-F76E-505E-FEB7-67F2CAE04696}"/>
              </a:ext>
            </a:extLst>
          </p:cNvPr>
          <p:cNvSpPr txBox="1">
            <a:spLocks/>
          </p:cNvSpPr>
          <p:nvPr/>
        </p:nvSpPr>
        <p:spPr>
          <a:xfrm>
            <a:off x="4899806" y="1284729"/>
            <a:ext cx="3619127" cy="251447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705" indent="-179705"/>
            <a:r>
              <a:rPr lang="en-US">
                <a:ea typeface="+mn-lt"/>
                <a:cs typeface="+mn-lt"/>
              </a:rPr>
              <a:t>Answer:</a:t>
            </a:r>
            <a:endParaRPr lang="en-US"/>
          </a:p>
          <a:p>
            <a:pPr marL="179705" indent="-179705"/>
            <a:endParaRPr lang="en-US">
              <a:latin typeface="Gill Sans Nova"/>
              <a:ea typeface="+mn-lt"/>
              <a:cs typeface="+mn-lt"/>
            </a:endParaRPr>
          </a:p>
          <a:p>
            <a:pPr marL="179705" indent="-179705"/>
            <a:r>
              <a:rPr lang="en-US">
                <a:latin typeface="Consolas"/>
                <a:ea typeface="+mn-lt"/>
                <a:cs typeface="+mn-lt"/>
              </a:rPr>
              <a:t>      </a:t>
            </a:r>
            <a:r>
              <a:rPr lang="en-US" u="sng">
                <a:latin typeface="Consolas"/>
                <a:ea typeface="+mn-lt"/>
                <a:cs typeface="+mn-lt"/>
              </a:rPr>
              <a:t>SELECT</a:t>
            </a:r>
            <a:r>
              <a:rPr lang="en-US">
                <a:latin typeface="Consolas"/>
                <a:ea typeface="+mn-lt"/>
                <a:cs typeface="+mn-lt"/>
              </a:rPr>
              <a:t> *</a:t>
            </a:r>
            <a:endParaRPr lang="en-US">
              <a:latin typeface="Consolas"/>
            </a:endParaRPr>
          </a:p>
          <a:p>
            <a:pPr marL="179705" indent="-179705"/>
            <a:r>
              <a:rPr lang="en-US">
                <a:latin typeface="Consolas"/>
              </a:rPr>
              <a:t>      </a:t>
            </a:r>
            <a:r>
              <a:rPr lang="en-US" u="sng">
                <a:latin typeface="Consolas"/>
              </a:rPr>
              <a:t>FROM</a:t>
            </a:r>
            <a:r>
              <a:rPr lang="en-US">
                <a:latin typeface="Consolas"/>
              </a:rPr>
              <a:t> students</a:t>
            </a:r>
          </a:p>
          <a:p>
            <a:pPr marL="179705" indent="-179705"/>
            <a:r>
              <a:rPr lang="en-US">
                <a:latin typeface="Consolas"/>
              </a:rPr>
              <a:t>      </a:t>
            </a:r>
            <a:r>
              <a:rPr lang="en-US" u="sng">
                <a:latin typeface="Consolas"/>
              </a:rPr>
              <a:t>WHERE</a:t>
            </a:r>
            <a:r>
              <a:rPr lang="en-US">
                <a:latin typeface="Consolas"/>
              </a:rPr>
              <a:t> id = </a:t>
            </a:r>
            <a:r>
              <a:rPr lang="en-US" u="sng">
                <a:latin typeface="Consolas"/>
              </a:rPr>
              <a:t>52819</a:t>
            </a:r>
          </a:p>
          <a:p>
            <a:pPr marL="179705" indent="-179705"/>
            <a:endParaRPr lang="en-US">
              <a:solidFill>
                <a:srgbClr val="00802F"/>
              </a:solidFill>
            </a:endParaRPr>
          </a:p>
          <a:p>
            <a:pPr marL="285750" indent="-285750">
              <a:buChar char="•"/>
            </a:pPr>
            <a:r>
              <a:rPr lang="en-US">
                <a:latin typeface="Consolas"/>
              </a:rPr>
              <a:t>SELECT</a:t>
            </a:r>
            <a:r>
              <a:rPr lang="en-US"/>
              <a:t> returns a result set</a:t>
            </a:r>
          </a:p>
          <a:p>
            <a:pPr marL="285750" indent="-285750">
              <a:buChar char="•"/>
            </a:pPr>
            <a:r>
              <a:rPr lang="en-US">
                <a:latin typeface="Consolas"/>
              </a:rPr>
              <a:t>FROM</a:t>
            </a:r>
            <a:r>
              <a:rPr lang="en-US"/>
              <a:t> indicates a table to </a:t>
            </a:r>
            <a:r>
              <a:rPr lang="en-US">
                <a:latin typeface="Consolas"/>
              </a:rPr>
              <a:t>SELECT</a:t>
            </a:r>
          </a:p>
          <a:p>
            <a:pPr marL="285750" indent="-285750">
              <a:buChar char="•"/>
            </a:pPr>
            <a:r>
              <a:rPr lang="en-US">
                <a:latin typeface="Consolas"/>
              </a:rPr>
              <a:t>WHERE</a:t>
            </a:r>
            <a:r>
              <a:rPr lang="en-US"/>
              <a:t> specifies the condition</a:t>
            </a:r>
          </a:p>
          <a:p>
            <a:pPr marL="285750" indent="-285750">
              <a:buChar char="•"/>
            </a:pPr>
            <a:r>
              <a:rPr lang="en-US">
                <a:latin typeface="Consolas"/>
              </a:rPr>
              <a:t>52819</a:t>
            </a:r>
            <a:r>
              <a:rPr lang="en-US"/>
              <a:t> is the </a:t>
            </a:r>
            <a:r>
              <a:rPr lang="en-US">
                <a:latin typeface="Consolas"/>
              </a:rPr>
              <a:t>id</a:t>
            </a:r>
            <a:r>
              <a:rPr lang="en-US"/>
              <a:t> of </a:t>
            </a:r>
            <a:r>
              <a:rPr lang="en-US" i="1"/>
              <a:t>Van Sokoloski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EDDEF24-1801-3DA3-B356-12511992CD02}"/>
              </a:ext>
            </a:extLst>
          </p:cNvPr>
          <p:cNvSpPr/>
          <p:nvPr/>
        </p:nvSpPr>
        <p:spPr>
          <a:xfrm>
            <a:off x="5273687" y="1591261"/>
            <a:ext cx="2019732" cy="863743"/>
          </a:xfrm>
          <a:prstGeom prst="rect">
            <a:avLst/>
          </a:prstGeom>
          <a:noFill/>
          <a:ln w="12700">
            <a:solidFill>
              <a:srgbClr val="00802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62353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1C058E9-CDB2-5401-7BE7-9AA096D8E3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Question 2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80C6F38-2113-9A7A-F8CA-DEA212660A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8072" y="1324626"/>
            <a:ext cx="8073082" cy="2487291"/>
          </a:xfrm>
        </p:spPr>
        <p:txBody>
          <a:bodyPr vert="horz" lIns="0" tIns="0" rIns="0" bIns="0" rtlCol="0" anchor="t">
            <a:normAutofit/>
          </a:bodyPr>
          <a:lstStyle/>
          <a:p>
            <a:pPr marL="179705" indent="-179705"/>
            <a:r>
              <a:rPr lang="en-US">
                <a:ea typeface="+mn-lt"/>
                <a:cs typeface="+mn-lt"/>
              </a:rPr>
              <a:t>What happens if there is no </a:t>
            </a:r>
            <a:r>
              <a:rPr lang="en-US">
                <a:latin typeface="Consolas"/>
                <a:ea typeface="+mn-lt"/>
                <a:cs typeface="+mn-lt"/>
              </a:rPr>
              <a:t>WHERE </a:t>
            </a:r>
            <a:r>
              <a:rPr lang="en-US">
                <a:ea typeface="+mn-lt"/>
                <a:cs typeface="+mn-lt"/>
              </a:rPr>
              <a:t>statement in an </a:t>
            </a:r>
            <a:r>
              <a:rPr lang="en-US">
                <a:latin typeface="Consolas"/>
                <a:ea typeface="+mn-lt"/>
                <a:cs typeface="+mn-lt"/>
              </a:rPr>
              <a:t>UPDATE </a:t>
            </a:r>
            <a:r>
              <a:rPr lang="en-US">
                <a:ea typeface="+mn-lt"/>
                <a:cs typeface="+mn-lt"/>
              </a:rPr>
              <a:t>query?</a:t>
            </a:r>
            <a:endParaRPr lang="en-US"/>
          </a:p>
          <a:p>
            <a:pPr marL="179705" indent="-179705"/>
            <a:endParaRPr lang="en-US"/>
          </a:p>
          <a:p>
            <a:pPr marL="285750" indent="-285750">
              <a:buFont typeface="Wingdings" panose="020B0604020202020204" pitchFamily="34" charset="0"/>
              <a:buChar char="ü"/>
            </a:pPr>
            <a:r>
              <a:rPr lang="en-US">
                <a:ea typeface="+mn-lt"/>
                <a:cs typeface="+mn-lt"/>
              </a:rPr>
              <a:t>There is no restriction, so all entries in the chosen table will be overwritten.</a:t>
            </a:r>
            <a:endParaRPr lang="en-US"/>
          </a:p>
          <a:p>
            <a:pPr marL="571500" lvl="1" indent="-285750">
              <a:buFont typeface="Wingdings" panose="020B0604020202020204" pitchFamily="34" charset="0"/>
              <a:buChar char="Ø"/>
            </a:pPr>
            <a:r>
              <a:rPr lang="en-US">
                <a:solidFill>
                  <a:srgbClr val="00802F"/>
                </a:solidFill>
                <a:ea typeface="+mn-lt"/>
                <a:cs typeface="+mn-lt"/>
              </a:rPr>
              <a:t>When no </a:t>
            </a:r>
            <a:r>
              <a:rPr lang="en-US">
                <a:solidFill>
                  <a:srgbClr val="00802F"/>
                </a:solidFill>
                <a:latin typeface="Consolas"/>
                <a:ea typeface="+mn-lt"/>
                <a:cs typeface="+mn-lt"/>
              </a:rPr>
              <a:t>WHERE </a:t>
            </a:r>
            <a:r>
              <a:rPr lang="en-US">
                <a:solidFill>
                  <a:srgbClr val="00802F"/>
                </a:solidFill>
                <a:ea typeface="+mn-lt"/>
                <a:cs typeface="+mn-lt"/>
              </a:rPr>
              <a:t>clause is given, the </a:t>
            </a:r>
            <a:r>
              <a:rPr lang="en-US">
                <a:solidFill>
                  <a:srgbClr val="00802F"/>
                </a:solidFill>
                <a:latin typeface="Consolas"/>
                <a:ea typeface="+mn-lt"/>
                <a:cs typeface="+mn-lt"/>
              </a:rPr>
              <a:t>UPDATE </a:t>
            </a:r>
            <a:r>
              <a:rPr lang="en-US">
                <a:solidFill>
                  <a:srgbClr val="00802F"/>
                </a:solidFill>
                <a:ea typeface="+mn-lt"/>
                <a:cs typeface="+mn-lt"/>
              </a:rPr>
              <a:t>applies for all the records in the table.</a:t>
            </a:r>
          </a:p>
          <a:p>
            <a:pPr marL="285750" indent="-285750">
              <a:buFont typeface="Wingdings" panose="020B0604020202020204" pitchFamily="34" charset="0"/>
              <a:buChar char="q"/>
            </a:pPr>
            <a:r>
              <a:rPr lang="en-US">
                <a:ea typeface="+mn-lt"/>
                <a:cs typeface="+mn-lt"/>
              </a:rPr>
              <a:t>There is no restriction, so no entry in the chosen table will be overwritten.</a:t>
            </a:r>
            <a:endParaRPr lang="en-US"/>
          </a:p>
          <a:p>
            <a:pPr marL="571500" lvl="1" indent="-285750">
              <a:buFont typeface="Wingdings" panose="020B0604020202020204" pitchFamily="34" charset="0"/>
              <a:buChar char="Ø"/>
            </a:pPr>
            <a:r>
              <a:rPr lang="en-US">
                <a:solidFill>
                  <a:srgbClr val="C00000"/>
                </a:solidFill>
                <a:ea typeface="+mn-lt"/>
                <a:cs typeface="+mn-lt"/>
              </a:rPr>
              <a:t>The previous choice is the correct behavior.</a:t>
            </a:r>
          </a:p>
          <a:p>
            <a:pPr marL="285750" indent="-285750">
              <a:buFont typeface="Wingdings" panose="020B0604020202020204" pitchFamily="34" charset="0"/>
              <a:buChar char="q"/>
            </a:pPr>
            <a:r>
              <a:rPr lang="en-US">
                <a:ea typeface="+mn-lt"/>
                <a:cs typeface="+mn-lt"/>
              </a:rPr>
              <a:t>A syntax error will appear because an </a:t>
            </a:r>
            <a:r>
              <a:rPr lang="en-US">
                <a:latin typeface="Consolas"/>
                <a:ea typeface="+mn-lt"/>
                <a:cs typeface="+mn-lt"/>
              </a:rPr>
              <a:t>UPDATE </a:t>
            </a:r>
            <a:r>
              <a:rPr lang="en-US">
                <a:ea typeface="+mn-lt"/>
                <a:cs typeface="+mn-lt"/>
              </a:rPr>
              <a:t>query requires a </a:t>
            </a:r>
            <a:r>
              <a:rPr lang="en-US">
                <a:latin typeface="Consolas"/>
                <a:ea typeface="+mn-lt"/>
                <a:cs typeface="+mn-lt"/>
              </a:rPr>
              <a:t>WHERE </a:t>
            </a:r>
            <a:r>
              <a:rPr lang="en-US">
                <a:ea typeface="+mn-lt"/>
                <a:cs typeface="+mn-lt"/>
              </a:rPr>
              <a:t>statement.</a:t>
            </a:r>
            <a:endParaRPr lang="en-US"/>
          </a:p>
          <a:p>
            <a:pPr marL="571500" lvl="1" indent="-285750">
              <a:buFont typeface="Wingdings" panose="020B0604020202020204" pitchFamily="34" charset="0"/>
              <a:buChar char="Ø"/>
            </a:pPr>
            <a:r>
              <a:rPr lang="en-US">
                <a:solidFill>
                  <a:srgbClr val="C00000"/>
                </a:solidFill>
                <a:ea typeface="+mn-lt"/>
                <a:cs typeface="+mn-lt"/>
              </a:rPr>
              <a:t>It doesn't require a WHERE clause.</a:t>
            </a:r>
          </a:p>
          <a:p>
            <a:pPr marL="285750" indent="-285750">
              <a:buFont typeface="Wingdings" panose="020B0604020202020204" pitchFamily="34" charset="0"/>
              <a:buChar char="q"/>
            </a:pPr>
            <a:r>
              <a:rPr lang="en-US">
                <a:ea typeface="+mn-lt"/>
                <a:cs typeface="+mn-lt"/>
              </a:rPr>
              <a:t>A syntax error will appear because updating entries in a table is done with the </a:t>
            </a:r>
            <a:r>
              <a:rPr lang="en-US">
                <a:latin typeface="Consolas"/>
                <a:ea typeface="+mn-lt"/>
                <a:cs typeface="+mn-lt"/>
              </a:rPr>
              <a:t>INSERT </a:t>
            </a:r>
            <a:r>
              <a:rPr lang="en-US">
                <a:ea typeface="+mn-lt"/>
                <a:cs typeface="+mn-lt"/>
              </a:rPr>
              <a:t>query.</a:t>
            </a:r>
            <a:endParaRPr lang="en-US"/>
          </a:p>
          <a:p>
            <a:pPr marL="571500" lvl="1" indent="-285750">
              <a:buFont typeface="Wingdings" panose="020B0604020202020204" pitchFamily="34" charset="0"/>
              <a:buChar char="Ø"/>
            </a:pPr>
            <a:r>
              <a:rPr lang="en-US">
                <a:solidFill>
                  <a:srgbClr val="C00000"/>
                </a:solidFill>
                <a:latin typeface="Consolas"/>
              </a:rPr>
              <a:t>UPDATE </a:t>
            </a:r>
            <a:r>
              <a:rPr lang="en-US">
                <a:solidFill>
                  <a:srgbClr val="C00000"/>
                </a:solidFill>
              </a:rPr>
              <a:t>is indeed the correct statement, and </a:t>
            </a:r>
            <a:r>
              <a:rPr lang="en-US">
                <a:solidFill>
                  <a:srgbClr val="C00000"/>
                </a:solidFill>
                <a:latin typeface="Consolas"/>
              </a:rPr>
              <a:t>INSERT </a:t>
            </a:r>
            <a:r>
              <a:rPr lang="en-US">
                <a:solidFill>
                  <a:srgbClr val="C00000"/>
                </a:solidFill>
              </a:rPr>
              <a:t>does not take </a:t>
            </a:r>
            <a:r>
              <a:rPr lang="en-US">
                <a:solidFill>
                  <a:srgbClr val="C00000"/>
                </a:solidFill>
                <a:latin typeface="Consolas"/>
              </a:rPr>
              <a:t>WHERE </a:t>
            </a:r>
            <a:r>
              <a:rPr lang="en-US">
                <a:solidFill>
                  <a:srgbClr val="C00000"/>
                </a:solidFill>
              </a:rPr>
              <a:t>clause.</a:t>
            </a:r>
          </a:p>
          <a:p>
            <a:pPr marL="179705" indent="-179705"/>
            <a:endParaRPr lang="en-US"/>
          </a:p>
          <a:p>
            <a:pPr marL="179705" indent="-179705"/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BC4A593-5BB9-3B4A-5874-1FF868558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82091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1C058E9-CDB2-5401-7BE7-9AA096D8E3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Question 3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80C6F38-2113-9A7A-F8CA-DEA212660A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8711" y="912614"/>
            <a:ext cx="3600763" cy="536700"/>
          </a:xfrm>
        </p:spPr>
        <p:txBody>
          <a:bodyPr vert="horz" lIns="0" tIns="0" rIns="0" bIns="0" rtlCol="0" anchor="t">
            <a:normAutofit/>
          </a:bodyPr>
          <a:lstStyle/>
          <a:p>
            <a:pPr marL="179705" indent="-179705"/>
            <a:r>
              <a:rPr lang="en-US">
                <a:ea typeface="+mn-lt"/>
                <a:cs typeface="+mn-lt"/>
              </a:rPr>
              <a:t>Given is the following table students:</a:t>
            </a:r>
            <a:endParaRPr lang="en-US"/>
          </a:p>
          <a:p>
            <a:pPr marL="179705" indent="-179705"/>
            <a:endParaRPr lang="en-US"/>
          </a:p>
          <a:p>
            <a:pPr marL="179705" indent="-179705"/>
            <a:endParaRPr lang="en-US"/>
          </a:p>
          <a:p>
            <a:pPr marL="179705" indent="-179705"/>
            <a:endParaRPr lang="en-US"/>
          </a:p>
          <a:p>
            <a:pPr marL="179705" indent="-179705"/>
            <a:endParaRPr lang="en-US"/>
          </a:p>
          <a:p>
            <a:pPr marL="179705" indent="-179705"/>
            <a:endParaRPr lang="en-US"/>
          </a:p>
          <a:p>
            <a:pPr marL="179705" indent="-179705"/>
            <a:endParaRPr lang="en-US"/>
          </a:p>
          <a:p>
            <a:pPr marL="179705" indent="-179705"/>
            <a:endParaRPr lang="en-US"/>
          </a:p>
          <a:p>
            <a:pPr marL="179705" indent="-179705"/>
            <a:endParaRPr lang="en-US"/>
          </a:p>
          <a:p>
            <a:pPr marL="179705" indent="-179705"/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BC4A593-5BB9-3B4A-5874-1FF868558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9</a:t>
            </a:fld>
            <a:endParaRPr lang="en-GB"/>
          </a:p>
        </p:txBody>
      </p:sp>
      <p:pic>
        <p:nvPicPr>
          <p:cNvPr id="9" name="Picture 8" descr="A table of names and numbers&#10;&#10;Description automatically generated">
            <a:extLst>
              <a:ext uri="{FF2B5EF4-FFF2-40B4-BE49-F238E27FC236}">
                <a16:creationId xmlns:a16="http://schemas.microsoft.com/office/drawing/2014/main" id="{BD113108-FD5A-2CE7-F650-87EF4D4DBF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8784" y="1184208"/>
            <a:ext cx="3302739" cy="1911188"/>
          </a:xfrm>
          <a:prstGeom prst="rect">
            <a:avLst/>
          </a:prstGeom>
        </p:spPr>
      </p:pic>
      <p:pic>
        <p:nvPicPr>
          <p:cNvPr id="10" name="Picture 9" descr="A close-up of a white background&#10;&#10;Description automatically generated">
            <a:extLst>
              <a:ext uri="{FF2B5EF4-FFF2-40B4-BE49-F238E27FC236}">
                <a16:creationId xmlns:a16="http://schemas.microsoft.com/office/drawing/2014/main" id="{8EC632B0-0EFC-AD8F-2F67-451C8FA594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4926" y="3469648"/>
            <a:ext cx="3795823" cy="1134804"/>
          </a:xfrm>
          <a:prstGeom prst="rect">
            <a:avLst/>
          </a:prstGeom>
        </p:spPr>
      </p:pic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3F39874A-59F2-44CD-BB6B-CA74CAC00720}"/>
              </a:ext>
            </a:extLst>
          </p:cNvPr>
          <p:cNvSpPr txBox="1">
            <a:spLocks/>
          </p:cNvSpPr>
          <p:nvPr/>
        </p:nvSpPr>
        <p:spPr>
          <a:xfrm>
            <a:off x="358332" y="3151655"/>
            <a:ext cx="3800123" cy="5367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705" indent="-179705"/>
            <a:r>
              <a:rPr lang="en-US">
                <a:ea typeface="+mn-lt"/>
                <a:cs typeface="+mn-lt"/>
              </a:rPr>
              <a:t>What is the numerical result of the following query:</a:t>
            </a:r>
            <a:endParaRPr lang="en-US"/>
          </a:p>
          <a:p>
            <a:pPr marL="179705" indent="-179705"/>
            <a:endParaRPr lang="en-US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C5D222FF-9F7F-DD97-D2E7-A3FBD2EDC136}"/>
              </a:ext>
            </a:extLst>
          </p:cNvPr>
          <p:cNvSpPr txBox="1">
            <a:spLocks/>
          </p:cNvSpPr>
          <p:nvPr/>
        </p:nvSpPr>
        <p:spPr>
          <a:xfrm>
            <a:off x="4099662" y="938753"/>
            <a:ext cx="4982994" cy="176608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en-US">
                <a:ea typeface="+mn-lt"/>
                <a:cs typeface="+mn-lt"/>
              </a:rPr>
              <a:t>Answer:</a:t>
            </a:r>
          </a:p>
          <a:p>
            <a:pPr marL="285750" indent="-285750">
              <a:buChar char="•"/>
            </a:pPr>
            <a:r>
              <a:rPr lang="en-US">
                <a:ea typeface="+mn-lt"/>
                <a:cs typeface="+mn-lt"/>
              </a:rPr>
              <a:t>The statement returns the number of entries (by the </a:t>
            </a:r>
            <a:r>
              <a:rPr lang="en-US">
                <a:latin typeface="Consolas"/>
                <a:ea typeface="+mn-lt"/>
                <a:cs typeface="+mn-lt"/>
              </a:rPr>
              <a:t>COUNT </a:t>
            </a:r>
            <a:r>
              <a:rPr lang="en-US">
                <a:ea typeface="+mn-lt"/>
                <a:cs typeface="+mn-lt"/>
              </a:rPr>
              <a:t>function) matching the condition.</a:t>
            </a:r>
            <a:endParaRPr lang="en-US"/>
          </a:p>
          <a:p>
            <a:pPr marL="285750" indent="-285750">
              <a:buChar char="•"/>
            </a:pPr>
            <a:r>
              <a:rPr lang="en-US" err="1">
                <a:latin typeface="Consolas"/>
              </a:rPr>
              <a:t>date_of_birth</a:t>
            </a:r>
            <a:r>
              <a:rPr lang="en-US"/>
              <a:t> needs to be smaller (i.e., earlier) than </a:t>
            </a:r>
            <a:r>
              <a:rPr lang="en-US">
                <a:latin typeface="Consolas"/>
              </a:rPr>
              <a:t>DATE('1999-04-15')</a:t>
            </a:r>
            <a:r>
              <a:rPr lang="en-US"/>
              <a:t>.</a:t>
            </a:r>
          </a:p>
          <a:p>
            <a:pPr marL="0" indent="0"/>
            <a:endParaRPr lang="en-US"/>
          </a:p>
          <a:p>
            <a:pPr marL="0" indent="0"/>
            <a:r>
              <a:rPr lang="en-US"/>
              <a:t>Therefore, the following </a:t>
            </a:r>
            <a:r>
              <a:rPr lang="en-US" b="1">
                <a:solidFill>
                  <a:srgbClr val="00802F"/>
                </a:solidFill>
              </a:rPr>
              <a:t>3</a:t>
            </a:r>
            <a:r>
              <a:rPr lang="en-US"/>
              <a:t> rows will be selected:</a:t>
            </a:r>
          </a:p>
          <a:p>
            <a:pPr marL="0" indent="0"/>
            <a:endParaRPr lang="en-US"/>
          </a:p>
        </p:txBody>
      </p:sp>
      <p:pic>
        <p:nvPicPr>
          <p:cNvPr id="5" name="Picture 4" descr="A white rectangular box with black text&#10;&#10;Description automatically generated">
            <a:extLst>
              <a:ext uri="{FF2B5EF4-FFF2-40B4-BE49-F238E27FC236}">
                <a16:creationId xmlns:a16="http://schemas.microsoft.com/office/drawing/2014/main" id="{5A1BA013-C628-DE5F-1A3F-3282CA554E0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31488" y="2672994"/>
            <a:ext cx="3302738" cy="1385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54486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CS_Theme">
  <a:themeElements>
    <a:clrScheme name="uni stgallen Colors">
      <a:dk1>
        <a:sysClr val="windowText" lastClr="000000"/>
      </a:dk1>
      <a:lt1>
        <a:sysClr val="window" lastClr="FFFFFF"/>
      </a:lt1>
      <a:dk2>
        <a:srgbClr val="0A5F2D"/>
      </a:dk2>
      <a:lt2>
        <a:srgbClr val="FFFFFF"/>
      </a:lt2>
      <a:accent1>
        <a:srgbClr val="00802F"/>
      </a:accent1>
      <a:accent2>
        <a:srgbClr val="E1D7C3"/>
      </a:accent2>
      <a:accent3>
        <a:srgbClr val="EB6969"/>
      </a:accent3>
      <a:accent4>
        <a:srgbClr val="73A5AF"/>
      </a:accent4>
      <a:accent5>
        <a:srgbClr val="FFF04B"/>
      </a:accent5>
      <a:accent6>
        <a:srgbClr val="0A5F2D"/>
      </a:accent6>
      <a:hlink>
        <a:srgbClr val="00802F"/>
      </a:hlink>
      <a:folHlink>
        <a:srgbClr val="0A5F2D"/>
      </a:folHlink>
    </a:clrScheme>
    <a:fontScheme name="uni stgallen Fonts">
      <a:majorFont>
        <a:latin typeface="Gill Sans Nova"/>
        <a:ea typeface=""/>
        <a:cs typeface=""/>
      </a:majorFont>
      <a:minorFont>
        <a:latin typeface="Gill Sans Nov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CS_Theme" id="{14AC96C4-A653-419B-9F98-BCEAB59CA431}" vid="{36A816B0-F4C2-482D-BABA-E7D145EB4E4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E5017C11-67CF-41FA-9001-5446285FBB5A}">
  <we:reference id="0978a9cb-a548-4218-ab38-75ef22e0bf01" version="1.0.0.7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A3AC0B29D543742836C64EC22DE252D" ma:contentTypeVersion="11" ma:contentTypeDescription="Ein neues Dokument erstellen." ma:contentTypeScope="" ma:versionID="f9f5302698bbc1f17338c1fe33946e93">
  <xsd:schema xmlns:xsd="http://www.w3.org/2001/XMLSchema" xmlns:xs="http://www.w3.org/2001/XMLSchema" xmlns:p="http://schemas.microsoft.com/office/2006/metadata/properties" xmlns:ns2="180db94c-82de-4c89-acb5-d41e1b03bacc" xmlns:ns3="5dc96929-7643-4924-91c0-9b0ff054556d" targetNamespace="http://schemas.microsoft.com/office/2006/metadata/properties" ma:root="true" ma:fieldsID="5a150a8a5f7f393c368b33e6894a6f24" ns2:_="" ns3:_="">
    <xsd:import namespace="180db94c-82de-4c89-acb5-d41e1b03bacc"/>
    <xsd:import namespace="5dc96929-7643-4924-91c0-9b0ff054556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bjectDetectorVersion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0db94c-82de-4c89-acb5-d41e1b03bac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Bildmarkierungen" ma:readOnly="false" ma:fieldId="{5cf76f15-5ced-4ddc-b409-7134ff3c332f}" ma:taxonomyMulti="true" ma:sspId="e6e639ec-35b1-4635-902a-5d545950234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c96929-7643-4924-91c0-9b0ff054556d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f537732f-bc61-4787-ba39-90e4ba434c8f}" ma:internalName="TaxCatchAll" ma:showField="CatchAllData" ma:web="5dc96929-7643-4924-91c0-9b0ff054556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dc96929-7643-4924-91c0-9b0ff054556d" xsi:nil="true"/>
    <lcf76f155ced4ddcb4097134ff3c332f xmlns="180db94c-82de-4c89-acb5-d41e1b03bacc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27AAF511-705D-4D22-B307-3E691874066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8E4EFD6-42B2-4CCA-80CA-EE28A56BC57F}">
  <ds:schemaRefs>
    <ds:schemaRef ds:uri="180db94c-82de-4c89-acb5-d41e1b03bacc"/>
    <ds:schemaRef ds:uri="5dc96929-7643-4924-91c0-9b0ff054556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8006C3C9-FB59-4473-BC1F-8644C613D910}">
  <ds:schemaRefs>
    <ds:schemaRef ds:uri="180db94c-82de-4c89-acb5-d41e1b03bacc"/>
    <ds:schemaRef ds:uri="5dc96929-7643-4924-91c0-9b0ff054556d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CS_Theme</Template>
  <TotalTime>0</TotalTime>
  <Words>2766</Words>
  <Application>Microsoft Office PowerPoint</Application>
  <PresentationFormat>On-screen Show (16:9)</PresentationFormat>
  <Paragraphs>266</Paragraphs>
  <Slides>3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44" baseType="lpstr">
      <vt:lpstr>Arial</vt:lpstr>
      <vt:lpstr>Calibri</vt:lpstr>
      <vt:lpstr>Consolas</vt:lpstr>
      <vt:lpstr>Gill Alt One MT Light</vt:lpstr>
      <vt:lpstr>Gill Sans Nova</vt:lpstr>
      <vt:lpstr>Gill Sans Nova Light</vt:lpstr>
      <vt:lpstr>Monaco</vt:lpstr>
      <vt:lpstr>Wingdings</vt:lpstr>
      <vt:lpstr>Wingdings,Sans-Serif</vt:lpstr>
      <vt:lpstr>SCS_Theme</vt:lpstr>
      <vt:lpstr>think-cell Folie</vt:lpstr>
      <vt:lpstr>Fundamentals and Methods of Computer Science</vt:lpstr>
      <vt:lpstr>Today’s Menu</vt:lpstr>
      <vt:lpstr>1. Discussion of the  solutions of Assignment 8</vt:lpstr>
      <vt:lpstr>Different types of JOIN</vt:lpstr>
      <vt:lpstr>WHERE conditions in SQL statements</vt:lpstr>
      <vt:lpstr>2. Discussion of Quiz 8</vt:lpstr>
      <vt:lpstr>Question 1</vt:lpstr>
      <vt:lpstr>Question 2</vt:lpstr>
      <vt:lpstr>Question 3</vt:lpstr>
      <vt:lpstr>Question 4</vt:lpstr>
      <vt:lpstr>Question 5</vt:lpstr>
      <vt:lpstr>Question 6</vt:lpstr>
      <vt:lpstr>   3. Brief summary of skills necessary to solve assignment 8  </vt:lpstr>
      <vt:lpstr>PowerPoint Presentation</vt:lpstr>
      <vt:lpstr>PowerPoint Presentation</vt:lpstr>
      <vt:lpstr>3.1. pandas – A crucial python library for data science </vt:lpstr>
      <vt:lpstr>3.2. How to import data with pandas (1)</vt:lpstr>
      <vt:lpstr>3.2. How to import data with pandas (2)</vt:lpstr>
      <vt:lpstr>3.3. loc and iloc – How to use them and the difference  between the two (1)</vt:lpstr>
      <vt:lpstr>3.3. loc and iloc – How to use them and the difference  between the two (2)</vt:lpstr>
      <vt:lpstr>3.3. loc and iloc – How to use them and the difference  between the two (3)</vt:lpstr>
      <vt:lpstr>3.4. Difference between a pandas DataFrame and a pandas Series (1)</vt:lpstr>
      <vt:lpstr>3.4. Difference between a pandas DataFrame and a pandas Series (2)</vt:lpstr>
      <vt:lpstr>3.4. Difference between a pandas DataFrame and a pandas Series (3)</vt:lpstr>
      <vt:lpstr>3.5. Important pandas methods – pd.DataFrame.copy()</vt:lpstr>
      <vt:lpstr>3.5. Important pandas methods – pd.DataFrame.dropna()</vt:lpstr>
      <vt:lpstr>3.5. Important pandas methods – pd.DataFrame.groupby()</vt:lpstr>
      <vt:lpstr>3.6. Other pandas utilities you might want to use for the assignment – Adding new columns</vt:lpstr>
      <vt:lpstr>3.6. Other pandas utilities you might want to use for the assignment</vt:lpstr>
      <vt:lpstr>3.6. Other pandas utilities you might want to use for the assignment – pd.DataFrame.sort_values()</vt:lpstr>
      <vt:lpstr>3.6. Other pandas utilities you might want to use for the assignment - Dealing with the axes of dataframes</vt:lpstr>
      <vt:lpstr>   Now you have everything you need to start with assignment 8 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ndamentals and Methods of  Computer Science</dc:title>
  <dc:creator>Stephan Aier</dc:creator>
  <cp:lastModifiedBy>Dominik Buchegger</cp:lastModifiedBy>
  <cp:revision>1</cp:revision>
  <dcterms:created xsi:type="dcterms:W3CDTF">2022-09-12T10:36:05Z</dcterms:created>
  <dcterms:modified xsi:type="dcterms:W3CDTF">2023-11-24T07:31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A3AC0B29D543742836C64EC22DE252D</vt:lpwstr>
  </property>
  <property fmtid="{D5CDD505-2E9C-101B-9397-08002B2CF9AE}" pid="3" name="MediaServiceImageTags">
    <vt:lpwstr/>
  </property>
</Properties>
</file>